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02" y="1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79</c:v>
                </c:pt>
                <c:pt idx="52">
                  <c:v>815</c:v>
                </c:pt>
                <c:pt idx="53">
                  <c:v>858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38</c:v>
                </c:pt>
                <c:pt idx="59">
                  <c:v>979</c:v>
                </c:pt>
                <c:pt idx="60">
                  <c:v>981</c:v>
                </c:pt>
                <c:pt idx="61">
                  <c:v>977</c:v>
                </c:pt>
                <c:pt idx="62">
                  <c:v>9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5</c:v>
                </c:pt>
                <c:pt idx="22">
                  <c:v>5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4</c:v>
                </c:pt>
                <c:pt idx="27">
                  <c:v>4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4</c:v>
                </c:pt>
                <c:pt idx="34">
                  <c:v>4</c:v>
                </c:pt>
                <c:pt idx="35">
                  <c:v>6</c:v>
                </c:pt>
                <c:pt idx="36">
                  <c:v>7</c:v>
                </c:pt>
                <c:pt idx="37">
                  <c:v>11</c:v>
                </c:pt>
                <c:pt idx="38">
                  <c:v>13</c:v>
                </c:pt>
                <c:pt idx="39">
                  <c:v>13</c:v>
                </c:pt>
                <c:pt idx="40">
                  <c:v>16</c:v>
                </c:pt>
                <c:pt idx="41">
                  <c:v>14</c:v>
                </c:pt>
                <c:pt idx="42">
                  <c:v>16</c:v>
                </c:pt>
                <c:pt idx="43">
                  <c:v>18</c:v>
                </c:pt>
                <c:pt idx="44">
                  <c:v>22</c:v>
                </c:pt>
                <c:pt idx="45">
                  <c:v>18</c:v>
                </c:pt>
                <c:pt idx="46">
                  <c:v>19</c:v>
                </c:pt>
                <c:pt idx="47">
                  <c:v>19</c:v>
                </c:pt>
                <c:pt idx="48">
                  <c:v>20</c:v>
                </c:pt>
                <c:pt idx="49">
                  <c:v>22</c:v>
                </c:pt>
                <c:pt idx="50">
                  <c:v>20</c:v>
                </c:pt>
                <c:pt idx="51">
                  <c:v>21</c:v>
                </c:pt>
                <c:pt idx="52">
                  <c:v>22</c:v>
                </c:pt>
                <c:pt idx="53">
                  <c:v>21</c:v>
                </c:pt>
                <c:pt idx="54">
                  <c:v>18</c:v>
                </c:pt>
                <c:pt idx="55">
                  <c:v>19</c:v>
                </c:pt>
                <c:pt idx="56">
                  <c:v>18</c:v>
                </c:pt>
                <c:pt idx="57">
                  <c:v>18</c:v>
                </c:pt>
                <c:pt idx="58">
                  <c:v>23</c:v>
                </c:pt>
                <c:pt idx="59">
                  <c:v>24</c:v>
                </c:pt>
                <c:pt idx="60">
                  <c:v>24</c:v>
                </c:pt>
                <c:pt idx="61">
                  <c:v>28</c:v>
                </c:pt>
                <c:pt idx="62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.947893112497109</c:v>
                </c:pt>
                <c:pt idx="43">
                  <c:v>13.627147003475583</c:v>
                </c:pt>
                <c:pt idx="44">
                  <c:v>14.284741383919933</c:v>
                </c:pt>
                <c:pt idx="45">
                  <c:v>14.910442645131198</c:v>
                </c:pt>
                <c:pt idx="46">
                  <c:v>15.530897246355984</c:v>
                </c:pt>
                <c:pt idx="47">
                  <c:v>16.155501155731145</c:v>
                </c:pt>
                <c:pt idx="48">
                  <c:v>16.765036008695272</c:v>
                </c:pt>
                <c:pt idx="49">
                  <c:v>17.356339594399007</c:v>
                </c:pt>
                <c:pt idx="50">
                  <c:v>17.897725153472408</c:v>
                </c:pt>
                <c:pt idx="51">
                  <c:v>18.425212495383406</c:v>
                </c:pt>
                <c:pt idx="52">
                  <c:v>18.93357219057696</c:v>
                </c:pt>
                <c:pt idx="53">
                  <c:v>19.435508057336065</c:v>
                </c:pt>
                <c:pt idx="54">
                  <c:v>19.897046150725259</c:v>
                </c:pt>
                <c:pt idx="55">
                  <c:v>20.333268646465136</c:v>
                </c:pt>
                <c:pt idx="56">
                  <c:v>20.76143912117206</c:v>
                </c:pt>
                <c:pt idx="57">
                  <c:v>21.162011813849166</c:v>
                </c:pt>
                <c:pt idx="58">
                  <c:v>21.54037083651923</c:v>
                </c:pt>
                <c:pt idx="59">
                  <c:v>21.892869305132638</c:v>
                </c:pt>
                <c:pt idx="60">
                  <c:v>22.231040262930264</c:v>
                </c:pt>
                <c:pt idx="61">
                  <c:v>22.543876240755466</c:v>
                </c:pt>
                <c:pt idx="62">
                  <c:v>22.829647428281433</c:v>
                </c:pt>
                <c:pt idx="63">
                  <c:v>23.095932043761771</c:v>
                </c:pt>
                <c:pt idx="64">
                  <c:v>23.34592535645627</c:v>
                </c:pt>
                <c:pt idx="65">
                  <c:v>23.569313628377657</c:v>
                </c:pt>
                <c:pt idx="66">
                  <c:v>23.767394204903024</c:v>
                </c:pt>
                <c:pt idx="67">
                  <c:v>23.944213455977671</c:v>
                </c:pt>
                <c:pt idx="68">
                  <c:v>24.101514837764796</c:v>
                </c:pt>
                <c:pt idx="69">
                  <c:v>24.238242664754331</c:v>
                </c:pt>
                <c:pt idx="70">
                  <c:v>24.353207153265494</c:v>
                </c:pt>
                <c:pt idx="71">
                  <c:v>24.449587675049298</c:v>
                </c:pt>
                <c:pt idx="72">
                  <c:v>24.523588532857993</c:v>
                </c:pt>
                <c:pt idx="73">
                  <c:v>24.575799983077676</c:v>
                </c:pt>
                <c:pt idx="74">
                  <c:v>24.603878236649692</c:v>
                </c:pt>
                <c:pt idx="75">
                  <c:v>24.611537379389606</c:v>
                </c:pt>
                <c:pt idx="76">
                  <c:v>24.599057437296739</c:v>
                </c:pt>
                <c:pt idx="77">
                  <c:v>24.566326422658946</c:v>
                </c:pt>
                <c:pt idx="78">
                  <c:v>24.512476029150456</c:v>
                </c:pt>
                <c:pt idx="79">
                  <c:v>24.436901128296725</c:v>
                </c:pt>
                <c:pt idx="80">
                  <c:v>24.340957228699811</c:v>
                </c:pt>
                <c:pt idx="81">
                  <c:v>24.225285373762937</c:v>
                </c:pt>
                <c:pt idx="82">
                  <c:v>24.090127121388733</c:v>
                </c:pt>
                <c:pt idx="83">
                  <c:v>23.935522178210821</c:v>
                </c:pt>
                <c:pt idx="84">
                  <c:v>23.762159126203734</c:v>
                </c:pt>
                <c:pt idx="85">
                  <c:v>23.570665778009428</c:v>
                </c:pt>
                <c:pt idx="86">
                  <c:v>23.361694197078823</c:v>
                </c:pt>
                <c:pt idx="87">
                  <c:v>23.135798094580139</c:v>
                </c:pt>
                <c:pt idx="88">
                  <c:v>22.893713166099346</c:v>
                </c:pt>
                <c:pt idx="89">
                  <c:v>22.636076961654609</c:v>
                </c:pt>
                <c:pt idx="90">
                  <c:v>22.363472191176363</c:v>
                </c:pt>
                <c:pt idx="91">
                  <c:v>22.076648946104633</c:v>
                </c:pt>
                <c:pt idx="92">
                  <c:v>21.776445847944814</c:v>
                </c:pt>
                <c:pt idx="93">
                  <c:v>21.463659868591794</c:v>
                </c:pt>
                <c:pt idx="94">
                  <c:v>21.139069825223736</c:v>
                </c:pt>
                <c:pt idx="95">
                  <c:v>20.80348733406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.974337771869813</c:v>
                </c:pt>
                <c:pt idx="43">
                  <c:v>13.690616759241074</c:v>
                </c:pt>
                <c:pt idx="44">
                  <c:v>14.397028606032276</c:v>
                </c:pt>
                <c:pt idx="45">
                  <c:v>15.084444980700548</c:v>
                </c:pt>
                <c:pt idx="46">
                  <c:v>15.780238212275357</c:v>
                </c:pt>
                <c:pt idx="47">
                  <c:v>16.494966636397017</c:v>
                </c:pt>
                <c:pt idx="48">
                  <c:v>17.20958450239327</c:v>
                </c:pt>
                <c:pt idx="49">
                  <c:v>17.921412026792744</c:v>
                </c:pt>
                <c:pt idx="50">
                  <c:v>18.598707949995216</c:v>
                </c:pt>
                <c:pt idx="51">
                  <c:v>19.277505990415314</c:v>
                </c:pt>
                <c:pt idx="52">
                  <c:v>19.952414416670432</c:v>
                </c:pt>
                <c:pt idx="53">
                  <c:v>20.635653490665852</c:v>
                </c:pt>
                <c:pt idx="54">
                  <c:v>21.292878335417456</c:v>
                </c:pt>
                <c:pt idx="55">
                  <c:v>21.938396888683538</c:v>
                </c:pt>
                <c:pt idx="56">
                  <c:v>22.588854453978577</c:v>
                </c:pt>
                <c:pt idx="57">
                  <c:v>23.223863790321701</c:v>
                </c:pt>
                <c:pt idx="58">
                  <c:v>23.847804321685079</c:v>
                </c:pt>
                <c:pt idx="59">
                  <c:v>24.455500733594945</c:v>
                </c:pt>
                <c:pt idx="60">
                  <c:v>25.057572098669041</c:v>
                </c:pt>
                <c:pt idx="61">
                  <c:v>25.64153422910843</c:v>
                </c:pt>
                <c:pt idx="62">
                  <c:v>26.204529429512121</c:v>
                </c:pt>
                <c:pt idx="63">
                  <c:v>26.753085290324965</c:v>
                </c:pt>
                <c:pt idx="64">
                  <c:v>27.288981061697317</c:v>
                </c:pt>
                <c:pt idx="65">
                  <c:v>27.800551284728201</c:v>
                </c:pt>
                <c:pt idx="66">
                  <c:v>28.287827148627159</c:v>
                </c:pt>
                <c:pt idx="67">
                  <c:v>28.75375392096473</c:v>
                </c:pt>
                <c:pt idx="68">
                  <c:v>29.198827280318078</c:v>
                </c:pt>
                <c:pt idx="69">
                  <c:v>29.620759837948754</c:v>
                </c:pt>
                <c:pt idx="70">
                  <c:v>30.017099444333535</c:v>
                </c:pt>
                <c:pt idx="71">
                  <c:v>30.389774731585039</c:v>
                </c:pt>
                <c:pt idx="72">
                  <c:v>30.733726031658918</c:v>
                </c:pt>
                <c:pt idx="73">
                  <c:v>31.048459732090258</c:v>
                </c:pt>
                <c:pt idx="74">
                  <c:v>31.330533528004388</c:v>
                </c:pt>
                <c:pt idx="75">
                  <c:v>31.582686392065597</c:v>
                </c:pt>
                <c:pt idx="76">
                  <c:v>31.804234148289268</c:v>
                </c:pt>
                <c:pt idx="77">
                  <c:v>31.994163577042041</c:v>
                </c:pt>
                <c:pt idx="78">
                  <c:v>32.150675043130356</c:v>
                </c:pt>
                <c:pt idx="79">
                  <c:v>32.272358209623896</c:v>
                </c:pt>
                <c:pt idx="80">
                  <c:v>32.359933278977145</c:v>
                </c:pt>
                <c:pt idx="81">
                  <c:v>32.413426870859951</c:v>
                </c:pt>
                <c:pt idx="82">
                  <c:v>32.432548882940921</c:v>
                </c:pt>
                <c:pt idx="83">
                  <c:v>32.416891487615956</c:v>
                </c:pt>
                <c:pt idx="84">
                  <c:v>32.366779723906525</c:v>
                </c:pt>
                <c:pt idx="85">
                  <c:v>32.282564973749068</c:v>
                </c:pt>
                <c:pt idx="86">
                  <c:v>32.164708973342194</c:v>
                </c:pt>
                <c:pt idx="87">
                  <c:v>32.013661340381887</c:v>
                </c:pt>
                <c:pt idx="88">
                  <c:v>31.830137940900997</c:v>
                </c:pt>
                <c:pt idx="89">
                  <c:v>31.614838241363344</c:v>
                </c:pt>
                <c:pt idx="90">
                  <c:v>31.36848470860091</c:v>
                </c:pt>
                <c:pt idx="91">
                  <c:v>31.092041795105445</c:v>
                </c:pt>
                <c:pt idx="92">
                  <c:v>30.786634300248132</c:v>
                </c:pt>
                <c:pt idx="93">
                  <c:v>30.453413206018297</c:v>
                </c:pt>
                <c:pt idx="94">
                  <c:v>30.0935740504273</c:v>
                </c:pt>
                <c:pt idx="95">
                  <c:v>29.70840056052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3.000932388538864</c:v>
                </c:pt>
                <c:pt idx="43">
                  <c:v>13.754631895554075</c:v>
                </c:pt>
                <c:pt idx="44">
                  <c:v>14.510674189646382</c:v>
                </c:pt>
                <c:pt idx="45">
                  <c:v>15.261247758216605</c:v>
                </c:pt>
                <c:pt idx="46">
                  <c:v>16.034694649781976</c:v>
                </c:pt>
                <c:pt idx="47">
                  <c:v>16.843009014324124</c:v>
                </c:pt>
                <c:pt idx="48">
                  <c:v>17.667610740278917</c:v>
                </c:pt>
                <c:pt idx="49">
                  <c:v>18.506613300315585</c:v>
                </c:pt>
                <c:pt idx="50">
                  <c:v>19.328539530661061</c:v>
                </c:pt>
                <c:pt idx="51">
                  <c:v>20.169758700054139</c:v>
                </c:pt>
                <c:pt idx="52">
                  <c:v>21.025033386000157</c:v>
                </c:pt>
                <c:pt idx="53">
                  <c:v>21.906401997946979</c:v>
                </c:pt>
                <c:pt idx="54">
                  <c:v>22.779428824220027</c:v>
                </c:pt>
                <c:pt idx="55">
                  <c:v>23.657896877153384</c:v>
                </c:pt>
                <c:pt idx="56">
                  <c:v>24.558049745628061</c:v>
                </c:pt>
                <c:pt idx="57">
                  <c:v>25.458833206990249</c:v>
                </c:pt>
                <c:pt idx="58">
                  <c:v>26.363750368425841</c:v>
                </c:pt>
                <c:pt idx="59">
                  <c:v>27.26617196470557</c:v>
                </c:pt>
                <c:pt idx="60">
                  <c:v>28.175819558258546</c:v>
                </c:pt>
                <c:pt idx="61">
                  <c:v>29.078683580601439</c:v>
                </c:pt>
                <c:pt idx="62">
                  <c:v>29.970663342519064</c:v>
                </c:pt>
                <c:pt idx="63">
                  <c:v>30.857053838689847</c:v>
                </c:pt>
                <c:pt idx="64">
                  <c:v>31.737967828908456</c:v>
                </c:pt>
                <c:pt idx="65">
                  <c:v>32.600075551089034</c:v>
                </c:pt>
                <c:pt idx="66">
                  <c:v>33.441769639916728</c:v>
                </c:pt>
                <c:pt idx="67">
                  <c:v>34.264460444065037</c:v>
                </c:pt>
                <c:pt idx="68">
                  <c:v>35.066905240260681</c:v>
                </c:pt>
                <c:pt idx="69">
                  <c:v>35.845043065710996</c:v>
                </c:pt>
                <c:pt idx="70">
                  <c:v>36.594572581271208</c:v>
                </c:pt>
                <c:pt idx="71">
                  <c:v>37.315546592559478</c:v>
                </c:pt>
                <c:pt idx="72">
                  <c:v>38.000987842029488</c:v>
                </c:pt>
                <c:pt idx="73">
                  <c:v>38.648645621604786</c:v>
                </c:pt>
                <c:pt idx="74">
                  <c:v>39.253293774895198</c:v>
                </c:pt>
                <c:pt idx="75">
                  <c:v>39.816007765798119</c:v>
                </c:pt>
                <c:pt idx="76">
                  <c:v>40.334457072936658</c:v>
                </c:pt>
                <c:pt idx="77">
                  <c:v>40.806060556808021</c:v>
                </c:pt>
                <c:pt idx="78">
                  <c:v>41.227444744241758</c:v>
                </c:pt>
                <c:pt idx="79">
                  <c:v>41.595784803914334</c:v>
                </c:pt>
                <c:pt idx="80">
                  <c:v>41.910598308267481</c:v>
                </c:pt>
                <c:pt idx="81">
                  <c:v>42.170779234652812</c:v>
                </c:pt>
                <c:pt idx="82">
                  <c:v>42.375043218728322</c:v>
                </c:pt>
                <c:pt idx="83">
                  <c:v>42.52213390077759</c:v>
                </c:pt>
                <c:pt idx="84">
                  <c:v>42.611678375334655</c:v>
                </c:pt>
                <c:pt idx="85">
                  <c:v>42.643487652942603</c:v>
                </c:pt>
                <c:pt idx="86">
                  <c:v>42.617642525619281</c:v>
                </c:pt>
                <c:pt idx="87">
                  <c:v>42.534373067702397</c:v>
                </c:pt>
                <c:pt idx="88">
                  <c:v>42.39433567961882</c:v>
                </c:pt>
                <c:pt idx="89">
                  <c:v>42.198327346384872</c:v>
                </c:pt>
                <c:pt idx="90">
                  <c:v>41.947319527080325</c:v>
                </c:pt>
                <c:pt idx="91">
                  <c:v>41.642671451312154</c:v>
                </c:pt>
                <c:pt idx="92">
                  <c:v>41.286042206460031</c:v>
                </c:pt>
                <c:pt idx="93">
                  <c:v>40.879248305160047</c:v>
                </c:pt>
                <c:pt idx="94">
                  <c:v>40.424271880394556</c:v>
                </c:pt>
                <c:pt idx="95">
                  <c:v>39.923293681132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6</c:v>
                </c:pt>
                <c:pt idx="27">
                  <c:v>5</c:v>
                </c:pt>
                <c:pt idx="28">
                  <c:v>6</c:v>
                </c:pt>
                <c:pt idx="29">
                  <c:v>5</c:v>
                </c:pt>
                <c:pt idx="30">
                  <c:v>4</c:v>
                </c:pt>
                <c:pt idx="31">
                  <c:v>5</c:v>
                </c:pt>
                <c:pt idx="32">
                  <c:v>5</c:v>
                </c:pt>
                <c:pt idx="33">
                  <c:v>6</c:v>
                </c:pt>
                <c:pt idx="34">
                  <c:v>4</c:v>
                </c:pt>
                <c:pt idx="35">
                  <c:v>6</c:v>
                </c:pt>
                <c:pt idx="36">
                  <c:v>6</c:v>
                </c:pt>
                <c:pt idx="37">
                  <c:v>8</c:v>
                </c:pt>
                <c:pt idx="38">
                  <c:v>9</c:v>
                </c:pt>
                <c:pt idx="39">
                  <c:v>10</c:v>
                </c:pt>
                <c:pt idx="40">
                  <c:v>12</c:v>
                </c:pt>
                <c:pt idx="41">
                  <c:v>13</c:v>
                </c:pt>
                <c:pt idx="42">
                  <c:v>13</c:v>
                </c:pt>
                <c:pt idx="43">
                  <c:v>13</c:v>
                </c:pt>
                <c:pt idx="44">
                  <c:v>16</c:v>
                </c:pt>
                <c:pt idx="45">
                  <c:v>18</c:v>
                </c:pt>
                <c:pt idx="46">
                  <c:v>18</c:v>
                </c:pt>
                <c:pt idx="47">
                  <c:v>19</c:v>
                </c:pt>
                <c:pt idx="48">
                  <c:v>20</c:v>
                </c:pt>
                <c:pt idx="49">
                  <c:v>21</c:v>
                </c:pt>
                <c:pt idx="50">
                  <c:v>19</c:v>
                </c:pt>
                <c:pt idx="51">
                  <c:v>19</c:v>
                </c:pt>
                <c:pt idx="52">
                  <c:v>23</c:v>
                </c:pt>
                <c:pt idx="53">
                  <c:v>23</c:v>
                </c:pt>
                <c:pt idx="54">
                  <c:v>25</c:v>
                </c:pt>
                <c:pt idx="55">
                  <c:v>27</c:v>
                </c:pt>
                <c:pt idx="56">
                  <c:v>34</c:v>
                </c:pt>
                <c:pt idx="57">
                  <c:v>33</c:v>
                </c:pt>
                <c:pt idx="58">
                  <c:v>30</c:v>
                </c:pt>
                <c:pt idx="59">
                  <c:v>34</c:v>
                </c:pt>
                <c:pt idx="60">
                  <c:v>35</c:v>
                </c:pt>
                <c:pt idx="61">
                  <c:v>34</c:v>
                </c:pt>
                <c:pt idx="62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070837451851116</c:v>
                </c:pt>
                <c:pt idx="43">
                  <c:v>14.797339451552244</c:v>
                </c:pt>
                <c:pt idx="44">
                  <c:v>15.50192352016807</c:v>
                </c:pt>
                <c:pt idx="45">
                  <c:v>16.167719536221153</c:v>
                </c:pt>
                <c:pt idx="46">
                  <c:v>16.825633594856303</c:v>
                </c:pt>
                <c:pt idx="47">
                  <c:v>17.486450394255115</c:v>
                </c:pt>
                <c:pt idx="48">
                  <c:v>18.135175390830085</c:v>
                </c:pt>
                <c:pt idx="49">
                  <c:v>18.762742472556191</c:v>
                </c:pt>
                <c:pt idx="50">
                  <c:v>19.33111708203057</c:v>
                </c:pt>
                <c:pt idx="51">
                  <c:v>19.888692697078056</c:v>
                </c:pt>
                <c:pt idx="52">
                  <c:v>20.429658714608383</c:v>
                </c:pt>
                <c:pt idx="53">
                  <c:v>20.964672763338655</c:v>
                </c:pt>
                <c:pt idx="54">
                  <c:v>21.451758046977936</c:v>
                </c:pt>
                <c:pt idx="55">
                  <c:v>21.915443405891885</c:v>
                </c:pt>
                <c:pt idx="56">
                  <c:v>22.373325215547272</c:v>
                </c:pt>
                <c:pt idx="57">
                  <c:v>22.802458305058458</c:v>
                </c:pt>
                <c:pt idx="58">
                  <c:v>23.206472802086779</c:v>
                </c:pt>
                <c:pt idx="59">
                  <c:v>23.584865066986382</c:v>
                </c:pt>
                <c:pt idx="60">
                  <c:v>23.952500290922337</c:v>
                </c:pt>
                <c:pt idx="61">
                  <c:v>24.290535218602432</c:v>
                </c:pt>
                <c:pt idx="62">
                  <c:v>24.600597911619793</c:v>
                </c:pt>
                <c:pt idx="63">
                  <c:v>24.889259474728952</c:v>
                </c:pt>
                <c:pt idx="64">
                  <c:v>25.162676453807173</c:v>
                </c:pt>
                <c:pt idx="65">
                  <c:v>25.407233924975657</c:v>
                </c:pt>
                <c:pt idx="66">
                  <c:v>25.625138381817365</c:v>
                </c:pt>
                <c:pt idx="67">
                  <c:v>25.821210043158871</c:v>
                </c:pt>
                <c:pt idx="68">
                  <c:v>25.996496265059804</c:v>
                </c:pt>
                <c:pt idx="69">
                  <c:v>26.149400883148083</c:v>
                </c:pt>
                <c:pt idx="70">
                  <c:v>26.278748923569957</c:v>
                </c:pt>
                <c:pt idx="71">
                  <c:v>26.388998122002462</c:v>
                </c:pt>
                <c:pt idx="72">
                  <c:v>26.475505758078267</c:v>
                </c:pt>
                <c:pt idx="73">
                  <c:v>26.538455872338652</c:v>
                </c:pt>
                <c:pt idx="74">
                  <c:v>26.575366940856274</c:v>
                </c:pt>
                <c:pt idx="75">
                  <c:v>26.590171559376021</c:v>
                </c:pt>
                <c:pt idx="76">
                  <c:v>26.582981532482727</c:v>
                </c:pt>
                <c:pt idx="77">
                  <c:v>26.553777099932354</c:v>
                </c:pt>
                <c:pt idx="78">
                  <c:v>26.501712927640966</c:v>
                </c:pt>
                <c:pt idx="79">
                  <c:v>26.426248986513428</c:v>
                </c:pt>
                <c:pt idx="80">
                  <c:v>26.328617430814013</c:v>
                </c:pt>
                <c:pt idx="81">
                  <c:v>26.209487041363719</c:v>
                </c:pt>
                <c:pt idx="82">
                  <c:v>26.069113606150246</c:v>
                </c:pt>
                <c:pt idx="83">
                  <c:v>25.907549706380841</c:v>
                </c:pt>
                <c:pt idx="84">
                  <c:v>25.725497688755627</c:v>
                </c:pt>
                <c:pt idx="85">
                  <c:v>25.523613685596455</c:v>
                </c:pt>
                <c:pt idx="86">
                  <c:v>25.302580302677125</c:v>
                </c:pt>
                <c:pt idx="87">
                  <c:v>25.062968357989611</c:v>
                </c:pt>
                <c:pt idx="88">
                  <c:v>24.805547184890614</c:v>
                </c:pt>
                <c:pt idx="89">
                  <c:v>24.531005306665463</c:v>
                </c:pt>
                <c:pt idx="90">
                  <c:v>24.239993109890669</c:v>
                </c:pt>
                <c:pt idx="91">
                  <c:v>23.933307939660388</c:v>
                </c:pt>
                <c:pt idx="92">
                  <c:v>23.611836094174642</c:v>
                </c:pt>
                <c:pt idx="93">
                  <c:v>23.276431209681824</c:v>
                </c:pt>
                <c:pt idx="94">
                  <c:v>22.927934734536755</c:v>
                </c:pt>
                <c:pt idx="95">
                  <c:v>22.567221046877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098575035158056</c:v>
                </c:pt>
                <c:pt idx="43">
                  <c:v>14.863919268973536</c:v>
                </c:pt>
                <c:pt idx="44">
                  <c:v>15.619833843412355</c:v>
                </c:pt>
                <c:pt idx="45">
                  <c:v>16.350663235413695</c:v>
                </c:pt>
                <c:pt idx="46">
                  <c:v>17.08809228158001</c:v>
                </c:pt>
                <c:pt idx="47">
                  <c:v>17.844133760802567</c:v>
                </c:pt>
                <c:pt idx="48">
                  <c:v>18.604045805988132</c:v>
                </c:pt>
                <c:pt idx="49">
                  <c:v>19.35933225780191</c:v>
                </c:pt>
                <c:pt idx="50">
                  <c:v>20.071925796257876</c:v>
                </c:pt>
                <c:pt idx="51">
                  <c:v>20.790376636049025</c:v>
                </c:pt>
                <c:pt idx="52">
                  <c:v>21.508710108223781</c:v>
                </c:pt>
                <c:pt idx="53">
                  <c:v>22.237115452124591</c:v>
                </c:pt>
                <c:pt idx="54">
                  <c:v>22.933201117380801</c:v>
                </c:pt>
                <c:pt idx="55">
                  <c:v>23.62076437049268</c:v>
                </c:pt>
                <c:pt idx="56">
                  <c:v>24.31676013339662</c:v>
                </c:pt>
                <c:pt idx="57">
                  <c:v>24.997316315186605</c:v>
                </c:pt>
                <c:pt idx="58">
                  <c:v>25.665045917300066</c:v>
                </c:pt>
                <c:pt idx="59">
                  <c:v>26.317872926639673</c:v>
                </c:pt>
                <c:pt idx="60">
                  <c:v>26.969741267148663</c:v>
                </c:pt>
                <c:pt idx="61">
                  <c:v>27.600182642537764</c:v>
                </c:pt>
                <c:pt idx="62">
                  <c:v>28.209635379044258</c:v>
                </c:pt>
                <c:pt idx="63">
                  <c:v>28.803507746743477</c:v>
                </c:pt>
                <c:pt idx="64">
                  <c:v>29.386512081624769</c:v>
                </c:pt>
                <c:pt idx="65">
                  <c:v>29.943539618213372</c:v>
                </c:pt>
                <c:pt idx="66">
                  <c:v>30.475451192279706</c:v>
                </c:pt>
                <c:pt idx="67">
                  <c:v>30.985860021960725</c:v>
                </c:pt>
                <c:pt idx="68">
                  <c:v>31.474459181013305</c:v>
                </c:pt>
                <c:pt idx="69">
                  <c:v>31.938311944370149</c:v>
                </c:pt>
                <c:pt idx="70">
                  <c:v>32.374856277027583</c:v>
                </c:pt>
                <c:pt idx="71">
                  <c:v>32.787206637226582</c:v>
                </c:pt>
                <c:pt idx="72">
                  <c:v>33.169330529093301</c:v>
                </c:pt>
                <c:pt idx="73">
                  <c:v>33.52020430234564</c:v>
                </c:pt>
                <c:pt idx="74">
                  <c:v>33.836130463358018</c:v>
                </c:pt>
                <c:pt idx="75">
                  <c:v>34.119968855247507</c:v>
                </c:pt>
                <c:pt idx="76">
                  <c:v>34.370760508663032</c:v>
                </c:pt>
                <c:pt idx="77">
                  <c:v>34.587480869843972</c:v>
                </c:pt>
                <c:pt idx="78">
                  <c:v>34.768263954109159</c:v>
                </c:pt>
                <c:pt idx="79">
                  <c:v>34.911674895642079</c:v>
                </c:pt>
                <c:pt idx="80">
                  <c:v>35.018217134570008</c:v>
                </c:pt>
                <c:pt idx="81">
                  <c:v>35.087863525218921</c:v>
                </c:pt>
                <c:pt idx="82">
                  <c:v>35.120263205614052</c:v>
                </c:pt>
                <c:pt idx="83">
                  <c:v>35.11495312834839</c:v>
                </c:pt>
                <c:pt idx="84">
                  <c:v>35.072211028796062</c:v>
                </c:pt>
                <c:pt idx="85">
                  <c:v>34.992362629052835</c:v>
                </c:pt>
                <c:pt idx="86">
                  <c:v>34.875853712519856</c:v>
                </c:pt>
                <c:pt idx="87">
                  <c:v>34.723112115270077</c:v>
                </c:pt>
                <c:pt idx="88">
                  <c:v>34.534856062750023</c:v>
                </c:pt>
                <c:pt idx="89">
                  <c:v>34.311812381948485</c:v>
                </c:pt>
                <c:pt idx="90">
                  <c:v>34.054755438100273</c:v>
                </c:pt>
                <c:pt idx="91">
                  <c:v>33.764688920089512</c:v>
                </c:pt>
                <c:pt idx="92">
                  <c:v>33.442784768046593</c:v>
                </c:pt>
                <c:pt idx="93">
                  <c:v>33.090257314964774</c:v>
                </c:pt>
                <c:pt idx="94">
                  <c:v>32.708378450833393</c:v>
                </c:pt>
                <c:pt idx="95">
                  <c:v>32.298515345894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126470022918088</c:v>
                </c:pt>
                <c:pt idx="43">
                  <c:v>14.931071279325225</c:v>
                </c:pt>
                <c:pt idx="44">
                  <c:v>15.739169553364452</c:v>
                </c:pt>
                <c:pt idx="45">
                  <c:v>16.536546914982839</c:v>
                </c:pt>
                <c:pt idx="46">
                  <c:v>17.355924843221505</c:v>
                </c:pt>
                <c:pt idx="47">
                  <c:v>18.210834378207871</c:v>
                </c:pt>
                <c:pt idx="48">
                  <c:v>19.087098533557857</c:v>
                </c:pt>
                <c:pt idx="49">
                  <c:v>19.977123387166714</c:v>
                </c:pt>
                <c:pt idx="50">
                  <c:v>20.843150833022285</c:v>
                </c:pt>
                <c:pt idx="51">
                  <c:v>21.734235359148869</c:v>
                </c:pt>
                <c:pt idx="52">
                  <c:v>22.644582009338219</c:v>
                </c:pt>
                <c:pt idx="53">
                  <c:v>23.584241374417971</c:v>
                </c:pt>
                <c:pt idx="54">
                  <c:v>24.510715327237143</c:v>
                </c:pt>
                <c:pt idx="55">
                  <c:v>25.447347038589385</c:v>
                </c:pt>
                <c:pt idx="56">
                  <c:v>26.410693692784402</c:v>
                </c:pt>
                <c:pt idx="57">
                  <c:v>27.376156070969312</c:v>
                </c:pt>
                <c:pt idx="58">
                  <c:v>28.345481612337885</c:v>
                </c:pt>
                <c:pt idx="59">
                  <c:v>29.315116752298817</c:v>
                </c:pt>
                <c:pt idx="60">
                  <c:v>30.298117789256125</c:v>
                </c:pt>
                <c:pt idx="61">
                  <c:v>31.272355440691733</c:v>
                </c:pt>
                <c:pt idx="62">
                  <c:v>32.236971473656517</c:v>
                </c:pt>
                <c:pt idx="63">
                  <c:v>33.196032370466853</c:v>
                </c:pt>
                <c:pt idx="64">
                  <c:v>34.152553674954532</c:v>
                </c:pt>
                <c:pt idx="65">
                  <c:v>35.089612215587564</c:v>
                </c:pt>
                <c:pt idx="66">
                  <c:v>36.006337166836445</c:v>
                </c:pt>
                <c:pt idx="67">
                  <c:v>36.904681061162449</c:v>
                </c:pt>
                <c:pt idx="68">
                  <c:v>37.78246594840131</c:v>
                </c:pt>
                <c:pt idx="69">
                  <c:v>38.634840465142084</c:v>
                </c:pt>
                <c:pt idx="70">
                  <c:v>39.457230567556053</c:v>
                </c:pt>
                <c:pt idx="71">
                  <c:v>40.250738857305166</c:v>
                </c:pt>
                <c:pt idx="72">
                  <c:v>41.007240889667081</c:v>
                </c:pt>
                <c:pt idx="73">
                  <c:v>41.723779000619686</c:v>
                </c:pt>
                <c:pt idx="74">
                  <c:v>42.394697266804556</c:v>
                </c:pt>
                <c:pt idx="75">
                  <c:v>43.021033958057657</c:v>
                </c:pt>
                <c:pt idx="76">
                  <c:v>43.600014091460253</c:v>
                </c:pt>
                <c:pt idx="77">
                  <c:v>44.128876638177871</c:v>
                </c:pt>
                <c:pt idx="78">
                  <c:v>44.604026512635656</c:v>
                </c:pt>
                <c:pt idx="79">
                  <c:v>45.022458723648512</c:v>
                </c:pt>
                <c:pt idx="80">
                  <c:v>45.383315416867703</c:v>
                </c:pt>
                <c:pt idx="81">
                  <c:v>45.685291682338651</c:v>
                </c:pt>
                <c:pt idx="82">
                  <c:v>45.926906300364131</c:v>
                </c:pt>
                <c:pt idx="83">
                  <c:v>46.106721826148927</c:v>
                </c:pt>
                <c:pt idx="84">
                  <c:v>46.224203285006432</c:v>
                </c:pt>
                <c:pt idx="85">
                  <c:v>46.279033124023613</c:v>
                </c:pt>
                <c:pt idx="86">
                  <c:v>46.271186177699761</c:v>
                </c:pt>
                <c:pt idx="87">
                  <c:v>46.200794299101588</c:v>
                </c:pt>
                <c:pt idx="88">
                  <c:v>46.068453817804766</c:v>
                </c:pt>
                <c:pt idx="89">
                  <c:v>45.874941065517618</c:v>
                </c:pt>
                <c:pt idx="90">
                  <c:v>45.621246240534532</c:v>
                </c:pt>
                <c:pt idx="91">
                  <c:v>45.308749565084902</c:v>
                </c:pt>
                <c:pt idx="92">
                  <c:v>44.939153699145642</c:v>
                </c:pt>
                <c:pt idx="93">
                  <c:v>44.514349285790416</c:v>
                </c:pt>
                <c:pt idx="94">
                  <c:v>44.03641959442362</c:v>
                </c:pt>
                <c:pt idx="95">
                  <c:v>43.507667043417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6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9</c:v>
                </c:pt>
                <c:pt idx="5">
                  <c:v>12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8</c:v>
                </c:pt>
                <c:pt idx="12">
                  <c:v>17</c:v>
                </c:pt>
                <c:pt idx="13">
                  <c:v>16</c:v>
                </c:pt>
                <c:pt idx="14">
                  <c:v>17</c:v>
                </c:pt>
                <c:pt idx="15">
                  <c:v>17</c:v>
                </c:pt>
                <c:pt idx="16">
                  <c:v>21</c:v>
                </c:pt>
                <c:pt idx="17">
                  <c:v>24</c:v>
                </c:pt>
                <c:pt idx="18">
                  <c:v>28</c:v>
                </c:pt>
                <c:pt idx="19">
                  <c:v>27</c:v>
                </c:pt>
                <c:pt idx="20">
                  <c:v>26</c:v>
                </c:pt>
                <c:pt idx="21">
                  <c:v>24</c:v>
                </c:pt>
                <c:pt idx="22">
                  <c:v>27</c:v>
                </c:pt>
                <c:pt idx="23">
                  <c:v>27</c:v>
                </c:pt>
                <c:pt idx="24">
                  <c:v>32</c:v>
                </c:pt>
                <c:pt idx="25">
                  <c:v>36</c:v>
                </c:pt>
                <c:pt idx="26">
                  <c:v>37</c:v>
                </c:pt>
                <c:pt idx="27">
                  <c:v>38</c:v>
                </c:pt>
                <c:pt idx="28">
                  <c:v>48</c:v>
                </c:pt>
                <c:pt idx="29">
                  <c:v>54</c:v>
                </c:pt>
                <c:pt idx="30">
                  <c:v>55</c:v>
                </c:pt>
                <c:pt idx="31">
                  <c:v>58</c:v>
                </c:pt>
                <c:pt idx="32">
                  <c:v>66</c:v>
                </c:pt>
                <c:pt idx="33">
                  <c:v>71</c:v>
                </c:pt>
                <c:pt idx="34">
                  <c:v>68</c:v>
                </c:pt>
                <c:pt idx="35">
                  <c:v>71</c:v>
                </c:pt>
                <c:pt idx="36">
                  <c:v>76</c:v>
                </c:pt>
                <c:pt idx="37">
                  <c:v>80</c:v>
                </c:pt>
                <c:pt idx="38">
                  <c:v>80</c:v>
                </c:pt>
                <c:pt idx="39">
                  <c:v>87</c:v>
                </c:pt>
                <c:pt idx="40">
                  <c:v>92</c:v>
                </c:pt>
                <c:pt idx="41">
                  <c:v>99</c:v>
                </c:pt>
                <c:pt idx="42">
                  <c:v>97</c:v>
                </c:pt>
                <c:pt idx="43">
                  <c:v>105</c:v>
                </c:pt>
                <c:pt idx="44">
                  <c:v>113</c:v>
                </c:pt>
                <c:pt idx="45">
                  <c:v>117</c:v>
                </c:pt>
                <c:pt idx="46">
                  <c:v>113</c:v>
                </c:pt>
                <c:pt idx="47">
                  <c:v>114</c:v>
                </c:pt>
                <c:pt idx="48">
                  <c:v>117</c:v>
                </c:pt>
                <c:pt idx="49">
                  <c:v>121</c:v>
                </c:pt>
                <c:pt idx="50">
                  <c:v>124</c:v>
                </c:pt>
                <c:pt idx="51">
                  <c:v>130</c:v>
                </c:pt>
                <c:pt idx="52">
                  <c:v>140</c:v>
                </c:pt>
                <c:pt idx="53">
                  <c:v>158</c:v>
                </c:pt>
                <c:pt idx="54">
                  <c:v>163</c:v>
                </c:pt>
                <c:pt idx="55">
                  <c:v>158</c:v>
                </c:pt>
                <c:pt idx="56">
                  <c:v>168</c:v>
                </c:pt>
                <c:pt idx="57">
                  <c:v>170</c:v>
                </c:pt>
                <c:pt idx="58">
                  <c:v>170</c:v>
                </c:pt>
                <c:pt idx="59">
                  <c:v>172</c:v>
                </c:pt>
                <c:pt idx="60">
                  <c:v>175</c:v>
                </c:pt>
                <c:pt idx="61">
                  <c:v>169</c:v>
                </c:pt>
                <c:pt idx="62">
                  <c:v>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8.187714647573486</c:v>
                </c:pt>
                <c:pt idx="43">
                  <c:v>103.27520424202152</c:v>
                </c:pt>
                <c:pt idx="44">
                  <c:v>108.20726369411494</c:v>
                </c:pt>
                <c:pt idx="45">
                  <c:v>112.8749885502005</c:v>
                </c:pt>
                <c:pt idx="46">
                  <c:v>117.49105609369985</c:v>
                </c:pt>
                <c:pt idx="47">
                  <c:v>122.12984296160755</c:v>
                </c:pt>
                <c:pt idx="48">
                  <c:v>126.67768158678928</c:v>
                </c:pt>
                <c:pt idx="49">
                  <c:v>131.07994167458207</c:v>
                </c:pt>
                <c:pt idx="50">
                  <c:v>135.07673492462047</c:v>
                </c:pt>
                <c:pt idx="51">
                  <c:v>138.99156995417511</c:v>
                </c:pt>
                <c:pt idx="52">
                  <c:v>142.78409554160726</c:v>
                </c:pt>
                <c:pt idx="53">
                  <c:v>146.53350958484836</c:v>
                </c:pt>
                <c:pt idx="54">
                  <c:v>149.95464850697755</c:v>
                </c:pt>
                <c:pt idx="55">
                  <c:v>153.20619517618661</c:v>
                </c:pt>
                <c:pt idx="56">
                  <c:v>156.41272470882194</c:v>
                </c:pt>
                <c:pt idx="57">
                  <c:v>159.41673712840023</c:v>
                </c:pt>
                <c:pt idx="58">
                  <c:v>162.24696998333786</c:v>
                </c:pt>
                <c:pt idx="59">
                  <c:v>164.89460309548025</c:v>
                </c:pt>
                <c:pt idx="60">
                  <c:v>167.45979091101651</c:v>
                </c:pt>
                <c:pt idx="61">
                  <c:v>169.82159659142792</c:v>
                </c:pt>
                <c:pt idx="62">
                  <c:v>171.98600101039906</c:v>
                </c:pt>
                <c:pt idx="63">
                  <c:v>174.00141054646059</c:v>
                </c:pt>
                <c:pt idx="64">
                  <c:v>175.9066696203773</c:v>
                </c:pt>
                <c:pt idx="65">
                  <c:v>177.61046297216356</c:v>
                </c:pt>
                <c:pt idx="66">
                  <c:v>179.12696597584406</c:v>
                </c:pt>
                <c:pt idx="67">
                  <c:v>180.48916599493887</c:v>
                </c:pt>
                <c:pt idx="68">
                  <c:v>181.70567106160027</c:v>
                </c:pt>
                <c:pt idx="69">
                  <c:v>182.76603147173012</c:v>
                </c:pt>
                <c:pt idx="70">
                  <c:v>183.66186717265674</c:v>
                </c:pt>
                <c:pt idx="71">
                  <c:v>184.42274701154003</c:v>
                </c:pt>
                <c:pt idx="72">
                  <c:v>185.01706779318945</c:v>
                </c:pt>
                <c:pt idx="73">
                  <c:v>185.44681527675104</c:v>
                </c:pt>
                <c:pt idx="74">
                  <c:v>185.69457262796701</c:v>
                </c:pt>
                <c:pt idx="75">
                  <c:v>185.7879407889188</c:v>
                </c:pt>
                <c:pt idx="76">
                  <c:v>185.72799518345607</c:v>
                </c:pt>
                <c:pt idx="77">
                  <c:v>185.51444158184108</c:v>
                </c:pt>
                <c:pt idx="78">
                  <c:v>185.14123043240716</c:v>
                </c:pt>
                <c:pt idx="79">
                  <c:v>184.6044130292899</c:v>
                </c:pt>
                <c:pt idx="80">
                  <c:v>183.91295694893154</c:v>
                </c:pt>
                <c:pt idx="81">
                  <c:v>183.07157173702961</c:v>
                </c:pt>
                <c:pt idx="82">
                  <c:v>182.08205261357702</c:v>
                </c:pt>
                <c:pt idx="83">
                  <c:v>180.94475203175818</c:v>
                </c:pt>
                <c:pt idx="84">
                  <c:v>179.66464151578688</c:v>
                </c:pt>
                <c:pt idx="85">
                  <c:v>178.24633969604088</c:v>
                </c:pt>
                <c:pt idx="86">
                  <c:v>176.69464975415127</c:v>
                </c:pt>
                <c:pt idx="87">
                  <c:v>175.01360232891037</c:v>
                </c:pt>
                <c:pt idx="88">
                  <c:v>173.20861217234784</c:v>
                </c:pt>
                <c:pt idx="89">
                  <c:v>171.28449049460301</c:v>
                </c:pt>
                <c:pt idx="90">
                  <c:v>169.24574947247646</c:v>
                </c:pt>
                <c:pt idx="91">
                  <c:v>167.09798035943652</c:v>
                </c:pt>
                <c:pt idx="92">
                  <c:v>164.84740625930331</c:v>
                </c:pt>
                <c:pt idx="93">
                  <c:v>162.50000303369848</c:v>
                </c:pt>
                <c:pt idx="94">
                  <c:v>160.061649930073</c:v>
                </c:pt>
                <c:pt idx="95">
                  <c:v>157.53846014533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8.382804811199122</c:v>
                </c:pt>
                <c:pt idx="43">
                  <c:v>103.74347728536881</c:v>
                </c:pt>
                <c:pt idx="44">
                  <c:v>109.03636526863218</c:v>
                </c:pt>
                <c:pt idx="45">
                  <c:v>114.16101924953105</c:v>
                </c:pt>
                <c:pt idx="46">
                  <c:v>119.33556610906123</c:v>
                </c:pt>
                <c:pt idx="47">
                  <c:v>124.64300598058679</c:v>
                </c:pt>
                <c:pt idx="48">
                  <c:v>129.97133466992418</c:v>
                </c:pt>
                <c:pt idx="49">
                  <c:v>135.26982900379829</c:v>
                </c:pt>
                <c:pt idx="50">
                  <c:v>140.2783314740627</c:v>
                </c:pt>
                <c:pt idx="51">
                  <c:v>145.3212272247369</c:v>
                </c:pt>
                <c:pt idx="52">
                  <c:v>150.35700128366909</c:v>
                </c:pt>
                <c:pt idx="53">
                  <c:v>155.46149550156588</c:v>
                </c:pt>
                <c:pt idx="54">
                  <c:v>160.34666997588013</c:v>
                </c:pt>
                <c:pt idx="55">
                  <c:v>165.16593416493271</c:v>
                </c:pt>
                <c:pt idx="56">
                  <c:v>170.03934037179033</c:v>
                </c:pt>
                <c:pt idx="57">
                  <c:v>174.80293958877436</c:v>
                </c:pt>
                <c:pt idx="58">
                  <c:v>179.47825719699773</c:v>
                </c:pt>
                <c:pt idx="59">
                  <c:v>184.04536493436314</c:v>
                </c:pt>
                <c:pt idx="60">
                  <c:v>188.59787817448</c:v>
                </c:pt>
                <c:pt idx="61">
                  <c:v>193.00355143566412</c:v>
                </c:pt>
                <c:pt idx="62">
                  <c:v>197.26000833509454</c:v>
                </c:pt>
                <c:pt idx="63">
                  <c:v>201.40757321614501</c:v>
                </c:pt>
                <c:pt idx="64">
                  <c:v>205.47486754723039</c:v>
                </c:pt>
                <c:pt idx="65">
                  <c:v>209.36019006259761</c:v>
                </c:pt>
                <c:pt idx="66">
                  <c:v>213.06827951679037</c:v>
                </c:pt>
                <c:pt idx="67">
                  <c:v>216.62371665450519</c:v>
                </c:pt>
                <c:pt idx="68">
                  <c:v>220.02565656382478</c:v>
                </c:pt>
                <c:pt idx="69">
                  <c:v>223.25429809370763</c:v>
                </c:pt>
                <c:pt idx="70">
                  <c:v>226.29160547103942</c:v>
                </c:pt>
                <c:pt idx="71">
                  <c:v>229.15774957754206</c:v>
                </c:pt>
                <c:pt idx="72">
                  <c:v>231.81145404449506</c:v>
                </c:pt>
                <c:pt idx="73">
                  <c:v>234.24632297736557</c:v>
                </c:pt>
                <c:pt idx="74">
                  <c:v>236.43648840273431</c:v>
                </c:pt>
                <c:pt idx="75">
                  <c:v>238.40208553201245</c:v>
                </c:pt>
                <c:pt idx="76">
                  <c:v>240.1367530165364</c:v>
                </c:pt>
                <c:pt idx="77">
                  <c:v>241.63322403088725</c:v>
                </c:pt>
                <c:pt idx="78">
                  <c:v>242.8783399331449</c:v>
                </c:pt>
                <c:pt idx="79">
                  <c:v>243.86193811453563</c:v>
                </c:pt>
                <c:pt idx="80">
                  <c:v>244.58795986428754</c:v>
                </c:pt>
                <c:pt idx="81">
                  <c:v>245.05630175540298</c:v>
                </c:pt>
                <c:pt idx="82">
                  <c:v>245.26457003546699</c:v>
                </c:pt>
                <c:pt idx="83">
                  <c:v>245.20956395592341</c:v>
                </c:pt>
                <c:pt idx="84">
                  <c:v>244.89333736328945</c:v>
                </c:pt>
                <c:pt idx="85">
                  <c:v>244.31824926998058</c:v>
                </c:pt>
                <c:pt idx="86">
                  <c:v>243.48749627928953</c:v>
                </c:pt>
                <c:pt idx="87">
                  <c:v>242.40415708377355</c:v>
                </c:pt>
                <c:pt idx="88">
                  <c:v>241.07333513202957</c:v>
                </c:pt>
                <c:pt idx="89">
                  <c:v>239.50015337065844</c:v>
                </c:pt>
                <c:pt idx="90">
                  <c:v>237.69003189954748</c:v>
                </c:pt>
                <c:pt idx="91">
                  <c:v>235.65004266788534</c:v>
                </c:pt>
                <c:pt idx="92">
                  <c:v>233.38844090422279</c:v>
                </c:pt>
                <c:pt idx="93">
                  <c:v>230.91375628039424</c:v>
                </c:pt>
                <c:pt idx="94">
                  <c:v>228.23490609413847</c:v>
                </c:pt>
                <c:pt idx="95">
                  <c:v>225.36147337297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8.57900188345215</c:v>
                </c:pt>
                <c:pt idx="43">
                  <c:v>104.21577456891636</c:v>
                </c:pt>
                <c:pt idx="44">
                  <c:v>109.87549121772821</c:v>
                </c:pt>
                <c:pt idx="45">
                  <c:v>115.46772391193424</c:v>
                </c:pt>
                <c:pt idx="46">
                  <c:v>121.21785967384261</c:v>
                </c:pt>
                <c:pt idx="47">
                  <c:v>127.21955774967196</c:v>
                </c:pt>
                <c:pt idx="48">
                  <c:v>133.36466547205765</c:v>
                </c:pt>
                <c:pt idx="49">
                  <c:v>139.60869394176697</c:v>
                </c:pt>
                <c:pt idx="50">
                  <c:v>145.69360930866756</c:v>
                </c:pt>
                <c:pt idx="51">
                  <c:v>151.94710145545631</c:v>
                </c:pt>
                <c:pt idx="52">
                  <c:v>158.32889102750835</c:v>
                </c:pt>
                <c:pt idx="53">
                  <c:v>164.91376192396507</c:v>
                </c:pt>
                <c:pt idx="54">
                  <c:v>171.41294259976894</c:v>
                </c:pt>
                <c:pt idx="55">
                  <c:v>177.97649533868673</c:v>
                </c:pt>
                <c:pt idx="56">
                  <c:v>184.72163745898411</c:v>
                </c:pt>
                <c:pt idx="57">
                  <c:v>191.47934950915001</c:v>
                </c:pt>
                <c:pt idx="58">
                  <c:v>198.26498383677156</c:v>
                </c:pt>
                <c:pt idx="59">
                  <c:v>205.04814448146954</c:v>
                </c:pt>
                <c:pt idx="60">
                  <c:v>211.91611833860316</c:v>
                </c:pt>
                <c:pt idx="61">
                  <c:v>218.72507447810187</c:v>
                </c:pt>
                <c:pt idx="62">
                  <c:v>225.46350581632839</c:v>
                </c:pt>
                <c:pt idx="63">
                  <c:v>232.16237708146929</c:v>
                </c:pt>
                <c:pt idx="64">
                  <c:v>238.83829416737768</c:v>
                </c:pt>
                <c:pt idx="65">
                  <c:v>245.37690353668069</c:v>
                </c:pt>
                <c:pt idx="66">
                  <c:v>251.77078508597077</c:v>
                </c:pt>
                <c:pt idx="67">
                  <c:v>258.03291985088174</c:v>
                </c:pt>
                <c:pt idx="68">
                  <c:v>264.14937889728606</c:v>
                </c:pt>
                <c:pt idx="69">
                  <c:v>270.08698097529191</c:v>
                </c:pt>
                <c:pt idx="70">
                  <c:v>275.81365405881274</c:v>
                </c:pt>
                <c:pt idx="71">
                  <c:v>281.33548921070502</c:v>
                </c:pt>
                <c:pt idx="72">
                  <c:v>286.59662458045881</c:v>
                </c:pt>
                <c:pt idx="73">
                  <c:v>291.57720615049294</c:v>
                </c:pt>
                <c:pt idx="74">
                  <c:v>296.23773029965014</c:v>
                </c:pt>
                <c:pt idx="75">
                  <c:v>300.58564227019968</c:v>
                </c:pt>
                <c:pt idx="76">
                  <c:v>304.6019496195114</c:v>
                </c:pt>
                <c:pt idx="77">
                  <c:v>308.26731818031516</c:v>
                </c:pt>
                <c:pt idx="78">
                  <c:v>311.55655225364148</c:v>
                </c:pt>
                <c:pt idx="79">
                  <c:v>314.44858327972133</c:v>
                </c:pt>
                <c:pt idx="80">
                  <c:v>316.93793667228113</c:v>
                </c:pt>
                <c:pt idx="81">
                  <c:v>319.01566455048737</c:v>
                </c:pt>
                <c:pt idx="82">
                  <c:v>320.67156188875197</c:v>
                </c:pt>
                <c:pt idx="83">
                  <c:v>321.89570866588463</c:v>
                </c:pt>
                <c:pt idx="84">
                  <c:v>322.68457073281502</c:v>
                </c:pt>
                <c:pt idx="85">
                  <c:v>323.03610420792177</c:v>
                </c:pt>
                <c:pt idx="86">
                  <c:v>322.95030673239751</c:v>
                </c:pt>
                <c:pt idx="87">
                  <c:v>322.42827963016828</c:v>
                </c:pt>
                <c:pt idx="88">
                  <c:v>321.4743635851907</c:v>
                </c:pt>
                <c:pt idx="89">
                  <c:v>320.09411360068185</c:v>
                </c:pt>
                <c:pt idx="90">
                  <c:v>318.29453985471082</c:v>
                </c:pt>
                <c:pt idx="91">
                  <c:v>316.08542227320476</c:v>
                </c:pt>
                <c:pt idx="92">
                  <c:v>313.47879603944853</c:v>
                </c:pt>
                <c:pt idx="93">
                  <c:v>310.48798217568128</c:v>
                </c:pt>
                <c:pt idx="94">
                  <c:v>307.12762648140847</c:v>
                </c:pt>
                <c:pt idx="95">
                  <c:v>303.41389892716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7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6</c:v>
                </c:pt>
                <c:pt idx="16">
                  <c:v>6</c:v>
                </c:pt>
                <c:pt idx="17">
                  <c:v>8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0</c:v>
                </c:pt>
                <c:pt idx="25">
                  <c:v>11</c:v>
                </c:pt>
                <c:pt idx="26">
                  <c:v>10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3</c:v>
                </c:pt>
                <c:pt idx="31">
                  <c:v>16</c:v>
                </c:pt>
                <c:pt idx="32">
                  <c:v>21</c:v>
                </c:pt>
                <c:pt idx="33">
                  <c:v>22</c:v>
                </c:pt>
                <c:pt idx="34">
                  <c:v>25</c:v>
                </c:pt>
                <c:pt idx="35">
                  <c:v>31</c:v>
                </c:pt>
                <c:pt idx="36">
                  <c:v>35</c:v>
                </c:pt>
                <c:pt idx="37">
                  <c:v>36</c:v>
                </c:pt>
                <c:pt idx="38">
                  <c:v>42</c:v>
                </c:pt>
                <c:pt idx="39">
                  <c:v>40</c:v>
                </c:pt>
                <c:pt idx="40">
                  <c:v>44</c:v>
                </c:pt>
                <c:pt idx="41">
                  <c:v>45</c:v>
                </c:pt>
                <c:pt idx="42">
                  <c:v>42</c:v>
                </c:pt>
                <c:pt idx="43">
                  <c:v>44</c:v>
                </c:pt>
                <c:pt idx="44">
                  <c:v>46</c:v>
                </c:pt>
                <c:pt idx="45">
                  <c:v>50</c:v>
                </c:pt>
                <c:pt idx="46">
                  <c:v>51</c:v>
                </c:pt>
                <c:pt idx="47">
                  <c:v>58</c:v>
                </c:pt>
                <c:pt idx="48">
                  <c:v>65</c:v>
                </c:pt>
                <c:pt idx="49">
                  <c:v>65</c:v>
                </c:pt>
                <c:pt idx="50">
                  <c:v>65</c:v>
                </c:pt>
                <c:pt idx="51">
                  <c:v>61</c:v>
                </c:pt>
                <c:pt idx="52">
                  <c:v>64</c:v>
                </c:pt>
                <c:pt idx="53">
                  <c:v>62</c:v>
                </c:pt>
                <c:pt idx="54">
                  <c:v>66</c:v>
                </c:pt>
                <c:pt idx="55">
                  <c:v>64</c:v>
                </c:pt>
                <c:pt idx="56">
                  <c:v>66</c:v>
                </c:pt>
                <c:pt idx="57">
                  <c:v>68</c:v>
                </c:pt>
                <c:pt idx="58">
                  <c:v>60</c:v>
                </c:pt>
                <c:pt idx="59">
                  <c:v>70</c:v>
                </c:pt>
                <c:pt idx="60">
                  <c:v>76</c:v>
                </c:pt>
                <c:pt idx="61">
                  <c:v>80</c:v>
                </c:pt>
                <c:pt idx="62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0.387688283464165</c:v>
                </c:pt>
                <c:pt idx="43">
                  <c:v>42.455282984413614</c:v>
                </c:pt>
                <c:pt idx="44">
                  <c:v>44.462424153734261</c:v>
                </c:pt>
                <c:pt idx="45">
                  <c:v>46.351967658384609</c:v>
                </c:pt>
                <c:pt idx="46">
                  <c:v>48.215579861368241</c:v>
                </c:pt>
                <c:pt idx="47">
                  <c:v>50.085086761292274</c:v>
                </c:pt>
                <c:pt idx="48">
                  <c:v>51.926385817504666</c:v>
                </c:pt>
                <c:pt idx="49">
                  <c:v>53.704913859097715</c:v>
                </c:pt>
                <c:pt idx="50">
                  <c:v>55.306038881652583</c:v>
                </c:pt>
                <c:pt idx="51">
                  <c:v>56.882697809205872</c:v>
                </c:pt>
                <c:pt idx="52">
                  <c:v>58.418018767015312</c:v>
                </c:pt>
                <c:pt idx="53">
                  <c:v>59.937816768048883</c:v>
                </c:pt>
                <c:pt idx="54">
                  <c:v>61.313934444103893</c:v>
                </c:pt>
                <c:pt idx="55">
                  <c:v>62.62912411140745</c:v>
                </c:pt>
                <c:pt idx="56">
                  <c:v>63.932126313486798</c:v>
                </c:pt>
                <c:pt idx="57">
                  <c:v>65.154495789451104</c:v>
                </c:pt>
                <c:pt idx="58">
                  <c:v>66.303282806605779</c:v>
                </c:pt>
                <c:pt idx="59">
                  <c:v>67.382290133181044</c:v>
                </c:pt>
                <c:pt idx="60">
                  <c:v>68.437723185251699</c:v>
                </c:pt>
                <c:pt idx="61">
                  <c:v>69.40505675136157</c:v>
                </c:pt>
                <c:pt idx="62">
                  <c:v>70.294285617867928</c:v>
                </c:pt>
                <c:pt idx="63">
                  <c:v>71.121745947608972</c:v>
                </c:pt>
                <c:pt idx="64">
                  <c:v>71.909181015969338</c:v>
                </c:pt>
                <c:pt idx="65">
                  <c:v>72.61386060783812</c:v>
                </c:pt>
                <c:pt idx="66">
                  <c:v>73.243326598628869</c:v>
                </c:pt>
                <c:pt idx="67">
                  <c:v>73.81205611328339</c:v>
                </c:pt>
                <c:pt idx="68">
                  <c:v>74.321769961920424</c:v>
                </c:pt>
                <c:pt idx="69">
                  <c:v>74.767205607595258</c:v>
                </c:pt>
                <c:pt idx="70">
                  <c:v>75.145169520098975</c:v>
                </c:pt>
                <c:pt idx="71">
                  <c:v>75.469977845776384</c:v>
                </c:pt>
                <c:pt idx="72">
                  <c:v>75.727518942982925</c:v>
                </c:pt>
                <c:pt idx="73">
                  <c:v>75.917627143474874</c:v>
                </c:pt>
                <c:pt idx="74">
                  <c:v>76.033279125136147</c:v>
                </c:pt>
                <c:pt idx="75">
                  <c:v>76.085605486376807</c:v>
                </c:pt>
                <c:pt idx="76">
                  <c:v>76.074635092736798</c:v>
                </c:pt>
                <c:pt idx="77">
                  <c:v>76.000465876760984</c:v>
                </c:pt>
                <c:pt idx="78">
                  <c:v>75.860820562401955</c:v>
                </c:pt>
                <c:pt idx="79">
                  <c:v>75.654327477060733</c:v>
                </c:pt>
                <c:pt idx="80">
                  <c:v>75.384157801390643</c:v>
                </c:pt>
                <c:pt idx="81">
                  <c:v>75.052188880590222</c:v>
                </c:pt>
                <c:pt idx="82">
                  <c:v>74.659144711540819</c:v>
                </c:pt>
                <c:pt idx="83">
                  <c:v>74.205190526080088</c:v>
                </c:pt>
                <c:pt idx="84">
                  <c:v>73.692272561519886</c:v>
                </c:pt>
                <c:pt idx="85">
                  <c:v>73.122234482069814</c:v>
                </c:pt>
                <c:pt idx="86">
                  <c:v>72.496996120165193</c:v>
                </c:pt>
                <c:pt idx="87">
                  <c:v>71.818149000295278</c:v>
                </c:pt>
                <c:pt idx="88">
                  <c:v>71.087855582392351</c:v>
                </c:pt>
                <c:pt idx="89">
                  <c:v>70.308085588858461</c:v>
                </c:pt>
                <c:pt idx="90">
                  <c:v>69.480731833616957</c:v>
                </c:pt>
                <c:pt idx="91">
                  <c:v>68.608055941238405</c:v>
                </c:pt>
                <c:pt idx="92">
                  <c:v>67.692563853055418</c:v>
                </c:pt>
                <c:pt idx="93">
                  <c:v>66.736686875340098</c:v>
                </c:pt>
                <c:pt idx="94">
                  <c:v>65.742832772103213</c:v>
                </c:pt>
                <c:pt idx="95">
                  <c:v>64.71349970896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0.465785854682871</c:v>
                </c:pt>
                <c:pt idx="43">
                  <c:v>42.642755108549508</c:v>
                </c:pt>
                <c:pt idx="44">
                  <c:v>44.79462024178298</c:v>
                </c:pt>
                <c:pt idx="45">
                  <c:v>46.867743821425854</c:v>
                </c:pt>
                <c:pt idx="46">
                  <c:v>48.956012146694377</c:v>
                </c:pt>
                <c:pt idx="47">
                  <c:v>51.094722946398178</c:v>
                </c:pt>
                <c:pt idx="48">
                  <c:v>53.250597689894164</c:v>
                </c:pt>
                <c:pt idx="49">
                  <c:v>55.390778456274397</c:v>
                </c:pt>
                <c:pt idx="50">
                  <c:v>57.400579350706849</c:v>
                </c:pt>
                <c:pt idx="51">
                  <c:v>59.433602031620495</c:v>
                </c:pt>
                <c:pt idx="52">
                  <c:v>61.472522382471105</c:v>
                </c:pt>
                <c:pt idx="53">
                  <c:v>63.541897625160587</c:v>
                </c:pt>
                <c:pt idx="54">
                  <c:v>65.512362241288798</c:v>
                </c:pt>
                <c:pt idx="55">
                  <c:v>67.464735295503118</c:v>
                </c:pt>
                <c:pt idx="56">
                  <c:v>69.445962341315976</c:v>
                </c:pt>
                <c:pt idx="57">
                  <c:v>71.384918665468518</c:v>
                </c:pt>
                <c:pt idx="58">
                  <c:v>73.285848386096973</c:v>
                </c:pt>
                <c:pt idx="59">
                  <c:v>75.148175504735548</c:v>
                </c:pt>
                <c:pt idx="60">
                  <c:v>77.015570297702382</c:v>
                </c:pt>
                <c:pt idx="61">
                  <c:v>78.818812459360799</c:v>
                </c:pt>
                <c:pt idx="62">
                  <c:v>80.564536432376897</c:v>
                </c:pt>
                <c:pt idx="63">
                  <c:v>82.265708689500954</c:v>
                </c:pt>
                <c:pt idx="64">
                  <c:v>83.940070715861751</c:v>
                </c:pt>
                <c:pt idx="65">
                  <c:v>85.540566747429295</c:v>
                </c:pt>
                <c:pt idx="66">
                  <c:v>87.070922184157183</c:v>
                </c:pt>
                <c:pt idx="67">
                  <c:v>88.542133902327265</c:v>
                </c:pt>
                <c:pt idx="68">
                  <c:v>89.952038097795239</c:v>
                </c:pt>
                <c:pt idx="69">
                  <c:v>91.291521320393159</c:v>
                </c:pt>
                <c:pt idx="70">
                  <c:v>92.553385663057611</c:v>
                </c:pt>
                <c:pt idx="71">
                  <c:v>93.748115823867423</c:v>
                </c:pt>
                <c:pt idx="72">
                  <c:v>94.857586521395092</c:v>
                </c:pt>
                <c:pt idx="73">
                  <c:v>95.878120398827093</c:v>
                </c:pt>
                <c:pt idx="74">
                  <c:v>96.799170270545517</c:v>
                </c:pt>
                <c:pt idx="75">
                  <c:v>97.628767772590379</c:v>
                </c:pt>
                <c:pt idx="76">
                  <c:v>98.363833500738394</c:v>
                </c:pt>
                <c:pt idx="77">
                  <c:v>99.001542783921792</c:v>
                </c:pt>
                <c:pt idx="78">
                  <c:v>99.536675790615348</c:v>
                </c:pt>
                <c:pt idx="79">
                  <c:v>99.965262358707392</c:v>
                </c:pt>
                <c:pt idx="80">
                  <c:v>100.28832391425928</c:v>
                </c:pt>
                <c:pt idx="81">
                  <c:v>100.50569747220044</c:v>
                </c:pt>
                <c:pt idx="82">
                  <c:v>100.61632194194465</c:v>
                </c:pt>
                <c:pt idx="83">
                  <c:v>100.6188381195671</c:v>
                </c:pt>
                <c:pt idx="84">
                  <c:v>100.5139286626017</c:v>
                </c:pt>
                <c:pt idx="85">
                  <c:v>100.30244333470857</c:v>
                </c:pt>
                <c:pt idx="86">
                  <c:v>99.985576719599521</c:v>
                </c:pt>
                <c:pt idx="87">
                  <c:v>99.564464638258031</c:v>
                </c:pt>
                <c:pt idx="88">
                  <c:v>99.041078012381774</c:v>
                </c:pt>
                <c:pt idx="89">
                  <c:v>98.417452539093887</c:v>
                </c:pt>
                <c:pt idx="90">
                  <c:v>97.695794564692505</c:v>
                </c:pt>
                <c:pt idx="91">
                  <c:v>96.878917617831519</c:v>
                </c:pt>
                <c:pt idx="92">
                  <c:v>95.970109054894451</c:v>
                </c:pt>
                <c:pt idx="93">
                  <c:v>94.972799060238714</c:v>
                </c:pt>
                <c:pt idx="94">
                  <c:v>93.890596885834853</c:v>
                </c:pt>
                <c:pt idx="95">
                  <c:v>92.727384422286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0.544326793319797</c:v>
                </c:pt>
                <c:pt idx="43">
                  <c:v>42.831838523828736</c:v>
                </c:pt>
                <c:pt idx="44">
                  <c:v>45.130830592641445</c:v>
                </c:pt>
                <c:pt idx="45">
                  <c:v>47.391801872459496</c:v>
                </c:pt>
                <c:pt idx="46">
                  <c:v>49.711588087736686</c:v>
                </c:pt>
                <c:pt idx="47">
                  <c:v>52.12978101410738</c:v>
                </c:pt>
                <c:pt idx="48">
                  <c:v>54.614812796140853</c:v>
                </c:pt>
                <c:pt idx="49">
                  <c:v>57.136476176508445</c:v>
                </c:pt>
                <c:pt idx="50">
                  <c:v>59.581006500638551</c:v>
                </c:pt>
                <c:pt idx="51">
                  <c:v>62.103664664825146</c:v>
                </c:pt>
                <c:pt idx="52">
                  <c:v>64.687660620807975</c:v>
                </c:pt>
                <c:pt idx="53">
                  <c:v>67.357243096551855</c:v>
                </c:pt>
                <c:pt idx="54">
                  <c:v>69.982728734524557</c:v>
                </c:pt>
                <c:pt idx="55">
                  <c:v>72.643809723188838</c:v>
                </c:pt>
                <c:pt idx="56">
                  <c:v>75.386348873297919</c:v>
                </c:pt>
                <c:pt idx="57">
                  <c:v>78.137130898043594</c:v>
                </c:pt>
                <c:pt idx="58">
                  <c:v>80.898047097176772</c:v>
                </c:pt>
                <c:pt idx="59">
                  <c:v>83.664435935391026</c:v>
                </c:pt>
                <c:pt idx="60">
                  <c:v>86.477553010868647</c:v>
                </c:pt>
                <c:pt idx="61">
                  <c:v>89.263405444746056</c:v>
                </c:pt>
                <c:pt idx="62">
                  <c:v>92.024988432339967</c:v>
                </c:pt>
                <c:pt idx="63">
                  <c:v>94.771413621055103</c:v>
                </c:pt>
                <c:pt idx="64">
                  <c:v>97.515725468582076</c:v>
                </c:pt>
                <c:pt idx="65">
                  <c:v>100.20565155983653</c:v>
                </c:pt>
                <c:pt idx="66">
                  <c:v>102.84002122652782</c:v>
                </c:pt>
                <c:pt idx="67">
                  <c:v>105.42507581551543</c:v>
                </c:pt>
                <c:pt idx="68">
                  <c:v>107.95330862976337</c:v>
                </c:pt>
                <c:pt idx="69">
                  <c:v>110.41012995945121</c:v>
                </c:pt>
                <c:pt idx="70">
                  <c:v>112.78256309934386</c:v>
                </c:pt>
                <c:pt idx="71">
                  <c:v>115.07535853215522</c:v>
                </c:pt>
                <c:pt idx="72">
                  <c:v>117.26437421780606</c:v>
                </c:pt>
                <c:pt idx="73">
                  <c:v>119.34034436529831</c:v>
                </c:pt>
                <c:pt idx="74">
                  <c:v>121.28707034349549</c:v>
                </c:pt>
                <c:pt idx="75">
                  <c:v>123.10733438227948</c:v>
                </c:pt>
                <c:pt idx="76">
                  <c:v>124.79280376751116</c:v>
                </c:pt>
                <c:pt idx="77">
                  <c:v>126.33562018825909</c:v>
                </c:pt>
                <c:pt idx="78">
                  <c:v>127.7255722833993</c:v>
                </c:pt>
                <c:pt idx="79">
                  <c:v>128.95413314685138</c:v>
                </c:pt>
                <c:pt idx="80">
                  <c:v>130.01833439280739</c:v>
                </c:pt>
                <c:pt idx="81">
                  <c:v>130.91427431853566</c:v>
                </c:pt>
                <c:pt idx="82">
                  <c:v>131.63757170495541</c:v>
                </c:pt>
                <c:pt idx="83">
                  <c:v>132.18399122065071</c:v>
                </c:pt>
                <c:pt idx="84">
                  <c:v>132.55180051452152</c:v>
                </c:pt>
                <c:pt idx="85">
                  <c:v>132.73991793613516</c:v>
                </c:pt>
                <c:pt idx="86">
                  <c:v>132.74809987704015</c:v>
                </c:pt>
                <c:pt idx="87">
                  <c:v>132.57654551597241</c:v>
                </c:pt>
                <c:pt idx="88">
                  <c:v>132.22678900811422</c:v>
                </c:pt>
                <c:pt idx="89">
                  <c:v>131.70092247314102</c:v>
                </c:pt>
                <c:pt idx="90">
                  <c:v>131.00168869986143</c:v>
                </c:pt>
                <c:pt idx="91">
                  <c:v>130.13290236582185</c:v>
                </c:pt>
                <c:pt idx="92">
                  <c:v>129.09929844776343</c:v>
                </c:pt>
                <c:pt idx="93">
                  <c:v>127.90617713815898</c:v>
                </c:pt>
                <c:pt idx="94">
                  <c:v>126.55941070605496</c:v>
                </c:pt>
                <c:pt idx="95">
                  <c:v>125.06550546393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5</c:v>
                </c:pt>
                <c:pt idx="11">
                  <c:v>4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9</c:v>
                </c:pt>
                <c:pt idx="23">
                  <c:v>12</c:v>
                </c:pt>
                <c:pt idx="24">
                  <c:v>12</c:v>
                </c:pt>
                <c:pt idx="25">
                  <c:v>15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5</c:v>
                </c:pt>
                <c:pt idx="32">
                  <c:v>23</c:v>
                </c:pt>
                <c:pt idx="33">
                  <c:v>21</c:v>
                </c:pt>
                <c:pt idx="34">
                  <c:v>24</c:v>
                </c:pt>
                <c:pt idx="35">
                  <c:v>30</c:v>
                </c:pt>
                <c:pt idx="36">
                  <c:v>29</c:v>
                </c:pt>
                <c:pt idx="37">
                  <c:v>36</c:v>
                </c:pt>
                <c:pt idx="38">
                  <c:v>36</c:v>
                </c:pt>
                <c:pt idx="39">
                  <c:v>39</c:v>
                </c:pt>
                <c:pt idx="40">
                  <c:v>40</c:v>
                </c:pt>
                <c:pt idx="41">
                  <c:v>39</c:v>
                </c:pt>
                <c:pt idx="42">
                  <c:v>42</c:v>
                </c:pt>
                <c:pt idx="43">
                  <c:v>41</c:v>
                </c:pt>
                <c:pt idx="44">
                  <c:v>41</c:v>
                </c:pt>
                <c:pt idx="45">
                  <c:v>49</c:v>
                </c:pt>
                <c:pt idx="46">
                  <c:v>51</c:v>
                </c:pt>
                <c:pt idx="47">
                  <c:v>54</c:v>
                </c:pt>
                <c:pt idx="48">
                  <c:v>56</c:v>
                </c:pt>
                <c:pt idx="49">
                  <c:v>55</c:v>
                </c:pt>
                <c:pt idx="50">
                  <c:v>51</c:v>
                </c:pt>
                <c:pt idx="51">
                  <c:v>54</c:v>
                </c:pt>
                <c:pt idx="52">
                  <c:v>62</c:v>
                </c:pt>
                <c:pt idx="53">
                  <c:v>61</c:v>
                </c:pt>
                <c:pt idx="54">
                  <c:v>62</c:v>
                </c:pt>
                <c:pt idx="55">
                  <c:v>59</c:v>
                </c:pt>
                <c:pt idx="56">
                  <c:v>61</c:v>
                </c:pt>
                <c:pt idx="57">
                  <c:v>62</c:v>
                </c:pt>
                <c:pt idx="58">
                  <c:v>64</c:v>
                </c:pt>
                <c:pt idx="59">
                  <c:v>69</c:v>
                </c:pt>
                <c:pt idx="60">
                  <c:v>66</c:v>
                </c:pt>
                <c:pt idx="61">
                  <c:v>63</c:v>
                </c:pt>
                <c:pt idx="6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.94857608865356</c:v>
                </c:pt>
                <c:pt idx="43">
                  <c:v>41.012153236552102</c:v>
                </c:pt>
                <c:pt idx="44">
                  <c:v>43.007754645224765</c:v>
                </c:pt>
                <c:pt idx="45">
                  <c:v>44.914609807344874</c:v>
                </c:pt>
                <c:pt idx="46">
                  <c:v>46.809479943051983</c:v>
                </c:pt>
                <c:pt idx="47">
                  <c:v>48.719629602057836</c:v>
                </c:pt>
                <c:pt idx="48">
                  <c:v>50.576988106634332</c:v>
                </c:pt>
                <c:pt idx="49">
                  <c:v>52.381848600530297</c:v>
                </c:pt>
                <c:pt idx="50">
                  <c:v>54.04516379246018</c:v>
                </c:pt>
                <c:pt idx="51">
                  <c:v>55.659174258740066</c:v>
                </c:pt>
                <c:pt idx="52">
                  <c:v>57.208371653299523</c:v>
                </c:pt>
                <c:pt idx="53">
                  <c:v>58.736453293801922</c:v>
                </c:pt>
                <c:pt idx="54">
                  <c:v>60.150028981190459</c:v>
                </c:pt>
                <c:pt idx="55">
                  <c:v>61.480292058900332</c:v>
                </c:pt>
                <c:pt idx="56">
                  <c:v>62.781201263469626</c:v>
                </c:pt>
                <c:pt idx="57">
                  <c:v>63.99692931912292</c:v>
                </c:pt>
                <c:pt idx="58">
                  <c:v>65.147540480447603</c:v>
                </c:pt>
                <c:pt idx="59">
                  <c:v>66.21603894031341</c:v>
                </c:pt>
                <c:pt idx="60">
                  <c:v>67.233055676778491</c:v>
                </c:pt>
                <c:pt idx="61">
                  <c:v>68.177464258629158</c:v>
                </c:pt>
                <c:pt idx="62">
                  <c:v>69.037951394041485</c:v>
                </c:pt>
                <c:pt idx="63">
                  <c:v>69.840212012241494</c:v>
                </c:pt>
                <c:pt idx="64">
                  <c:v>70.589182698283707</c:v>
                </c:pt>
                <c:pt idx="65">
                  <c:v>71.258030525604994</c:v>
                </c:pt>
                <c:pt idx="66">
                  <c:v>71.849270513356345</c:v>
                </c:pt>
                <c:pt idx="67">
                  <c:v>72.374337943313549</c:v>
                </c:pt>
                <c:pt idx="68">
                  <c:v>72.839953097589984</c:v>
                </c:pt>
                <c:pt idx="69">
                  <c:v>73.243722272231764</c:v>
                </c:pt>
                <c:pt idx="70">
                  <c:v>73.581860956332449</c:v>
                </c:pt>
                <c:pt idx="71">
                  <c:v>73.862186711468539</c:v>
                </c:pt>
                <c:pt idx="72">
                  <c:v>74.074183621437982</c:v>
                </c:pt>
                <c:pt idx="73">
                  <c:v>74.220423923202247</c:v>
                </c:pt>
                <c:pt idx="74">
                  <c:v>74.293743112659641</c:v>
                </c:pt>
                <c:pt idx="75">
                  <c:v>74.305493990167406</c:v>
                </c:pt>
                <c:pt idx="76">
                  <c:v>74.256854200685581</c:v>
                </c:pt>
                <c:pt idx="77">
                  <c:v>74.147309320776685</c:v>
                </c:pt>
                <c:pt idx="78">
                  <c:v>73.9740762208462</c:v>
                </c:pt>
                <c:pt idx="79">
                  <c:v>73.73512981742482</c:v>
                </c:pt>
                <c:pt idx="80">
                  <c:v>73.434967229327214</c:v>
                </c:pt>
                <c:pt idx="81">
                  <c:v>73.075565303273748</c:v>
                </c:pt>
                <c:pt idx="82">
                  <c:v>72.657662373991812</c:v>
                </c:pt>
                <c:pt idx="83">
                  <c:v>72.181361456874384</c:v>
                </c:pt>
                <c:pt idx="84">
                  <c:v>71.64881391737606</c:v>
                </c:pt>
                <c:pt idx="85">
                  <c:v>71.061953789986305</c:v>
                </c:pt>
                <c:pt idx="86">
                  <c:v>70.422787850089819</c:v>
                </c:pt>
                <c:pt idx="87">
                  <c:v>69.733035563726162</c:v>
                </c:pt>
                <c:pt idx="88">
                  <c:v>68.99496252203474</c:v>
                </c:pt>
                <c:pt idx="89">
                  <c:v>68.210494064727783</c:v>
                </c:pt>
                <c:pt idx="90">
                  <c:v>67.381353189979677</c:v>
                </c:pt>
                <c:pt idx="91">
                  <c:v>66.509827252371565</c:v>
                </c:pt>
                <c:pt idx="92">
                  <c:v>65.598482550224148</c:v>
                </c:pt>
                <c:pt idx="93">
                  <c:v>64.649738149928979</c:v>
                </c:pt>
                <c:pt idx="94">
                  <c:v>63.665945371573031</c:v>
                </c:pt>
                <c:pt idx="95">
                  <c:v>62.649558924945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9.029867036936515</c:v>
                </c:pt>
                <c:pt idx="43">
                  <c:v>41.20724737260295</c:v>
                </c:pt>
                <c:pt idx="44">
                  <c:v>43.352693861457979</c:v>
                </c:pt>
                <c:pt idx="45">
                  <c:v>45.448737333223278</c:v>
                </c:pt>
                <c:pt idx="46">
                  <c:v>47.574340057408335</c:v>
                </c:pt>
                <c:pt idx="47">
                  <c:v>49.760324232235554</c:v>
                </c:pt>
                <c:pt idx="48">
                  <c:v>51.939025046344454</c:v>
                </c:pt>
                <c:pt idx="49">
                  <c:v>54.112107261863812</c:v>
                </c:pt>
                <c:pt idx="50">
                  <c:v>56.190313551239122</c:v>
                </c:pt>
                <c:pt idx="51">
                  <c:v>58.265679662010065</c:v>
                </c:pt>
                <c:pt idx="52">
                  <c:v>60.322187583292347</c:v>
                </c:pt>
                <c:pt idx="53">
                  <c:v>62.401980584187413</c:v>
                </c:pt>
                <c:pt idx="54">
                  <c:v>64.410572958920184</c:v>
                </c:pt>
                <c:pt idx="55">
                  <c:v>66.376637800137487</c:v>
                </c:pt>
                <c:pt idx="56">
                  <c:v>68.352220995564565</c:v>
                </c:pt>
                <c:pt idx="57">
                  <c:v>70.278985714705072</c:v>
                </c:pt>
                <c:pt idx="58">
                  <c:v>72.173843906774806</c:v>
                </c:pt>
                <c:pt idx="59">
                  <c:v>74.015047747074888</c:v>
                </c:pt>
                <c:pt idx="60">
                  <c:v>75.83035354378876</c:v>
                </c:pt>
                <c:pt idx="61">
                  <c:v>77.594228015714876</c:v>
                </c:pt>
                <c:pt idx="62">
                  <c:v>79.29190242978413</c:v>
                </c:pt>
                <c:pt idx="63">
                  <c:v>80.945948050147535</c:v>
                </c:pt>
                <c:pt idx="64">
                  <c:v>82.556877133176144</c:v>
                </c:pt>
                <c:pt idx="65">
                  <c:v>84.093833988326338</c:v>
                </c:pt>
                <c:pt idx="66">
                  <c:v>85.555472117229115</c:v>
                </c:pt>
                <c:pt idx="67">
                  <c:v>86.949932691523188</c:v>
                </c:pt>
                <c:pt idx="68">
                  <c:v>88.280179569043199</c:v>
                </c:pt>
                <c:pt idx="69">
                  <c:v>89.540117500893942</c:v>
                </c:pt>
                <c:pt idx="70">
                  <c:v>90.722191148577579</c:v>
                </c:pt>
                <c:pt idx="71">
                  <c:v>91.830427965031134</c:v>
                </c:pt>
                <c:pt idx="72">
                  <c:v>92.850538068448174</c:v>
                </c:pt>
                <c:pt idx="73">
                  <c:v>93.781885247479963</c:v>
                </c:pt>
                <c:pt idx="74">
                  <c:v>94.61403918605258</c:v>
                </c:pt>
                <c:pt idx="75">
                  <c:v>95.35544220963213</c:v>
                </c:pt>
                <c:pt idx="76">
                  <c:v>96.00441151646703</c:v>
                </c:pt>
                <c:pt idx="77">
                  <c:v>96.557765925594936</c:v>
                </c:pt>
                <c:pt idx="78">
                  <c:v>97.009935666682978</c:v>
                </c:pt>
                <c:pt idx="79">
                  <c:v>97.356507983885251</c:v>
                </c:pt>
                <c:pt idx="80">
                  <c:v>97.600135655375652</c:v>
                </c:pt>
                <c:pt idx="81">
                  <c:v>97.74099642227165</c:v>
                </c:pt>
                <c:pt idx="82">
                  <c:v>97.77827963274305</c:v>
                </c:pt>
                <c:pt idx="83">
                  <c:v>97.710793073114615</c:v>
                </c:pt>
                <c:pt idx="84">
                  <c:v>97.539645984125343</c:v>
                </c:pt>
                <c:pt idx="85">
                  <c:v>97.265993130053573</c:v>
                </c:pt>
                <c:pt idx="86">
                  <c:v>96.89132099469353</c:v>
                </c:pt>
                <c:pt idx="87">
                  <c:v>96.417087929869666</c:v>
                </c:pt>
                <c:pt idx="88">
                  <c:v>95.845551360827073</c:v>
                </c:pt>
                <c:pt idx="89">
                  <c:v>95.17887335848306</c:v>
                </c:pt>
                <c:pt idx="90">
                  <c:v>94.41924591693251</c:v>
                </c:pt>
                <c:pt idx="91">
                  <c:v>93.569647555435935</c:v>
                </c:pt>
                <c:pt idx="92">
                  <c:v>92.633549587200974</c:v>
                </c:pt>
                <c:pt idx="93">
                  <c:v>91.614477806433314</c:v>
                </c:pt>
                <c:pt idx="94">
                  <c:v>90.516076122564527</c:v>
                </c:pt>
                <c:pt idx="95">
                  <c:v>89.342254697189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9.111618753161963</c:v>
                </c:pt>
                <c:pt idx="43">
                  <c:v>41.404017752359223</c:v>
                </c:pt>
                <c:pt idx="44">
                  <c:v>43.701807617271811</c:v>
                </c:pt>
                <c:pt idx="45">
                  <c:v>45.991468861019371</c:v>
                </c:pt>
                <c:pt idx="46">
                  <c:v>48.354910688815949</c:v>
                </c:pt>
                <c:pt idx="47">
                  <c:v>50.827347663712935</c:v>
                </c:pt>
                <c:pt idx="48">
                  <c:v>53.342413149164088</c:v>
                </c:pt>
                <c:pt idx="49">
                  <c:v>55.904088112787825</c:v>
                </c:pt>
                <c:pt idx="50">
                  <c:v>58.423870963621383</c:v>
                </c:pt>
                <c:pt idx="51">
                  <c:v>60.994563634180217</c:v>
                </c:pt>
                <c:pt idx="52">
                  <c:v>63.600591352961224</c:v>
                </c:pt>
                <c:pt idx="53">
                  <c:v>66.283447638099247</c:v>
                </c:pt>
                <c:pt idx="54">
                  <c:v>68.948387241229852</c:v>
                </c:pt>
                <c:pt idx="55">
                  <c:v>71.622301564962385</c:v>
                </c:pt>
                <c:pt idx="56">
                  <c:v>74.355960489639784</c:v>
                </c:pt>
                <c:pt idx="57">
                  <c:v>77.089024842780447</c:v>
                </c:pt>
                <c:pt idx="58">
                  <c:v>79.835619417762757</c:v>
                </c:pt>
                <c:pt idx="59">
                  <c:v>82.569444234432979</c:v>
                </c:pt>
                <c:pt idx="60">
                  <c:v>85.315403006935099</c:v>
                </c:pt>
                <c:pt idx="61">
                  <c:v>88.043379723544575</c:v>
                </c:pt>
                <c:pt idx="62">
                  <c:v>90.734772132943931</c:v>
                </c:pt>
                <c:pt idx="63">
                  <c:v>93.408447717330503</c:v>
                </c:pt>
                <c:pt idx="64">
                  <c:v>96.059706802717642</c:v>
                </c:pt>
                <c:pt idx="65">
                  <c:v>98.652697340349874</c:v>
                </c:pt>
                <c:pt idx="66">
                  <c:v>101.18105854528216</c:v>
                </c:pt>
                <c:pt idx="67">
                  <c:v>103.64830158930906</c:v>
                </c:pt>
                <c:pt idx="68">
                  <c:v>106.05212943553353</c:v>
                </c:pt>
                <c:pt idx="69">
                  <c:v>108.3810895299037</c:v>
                </c:pt>
                <c:pt idx="70">
                  <c:v>110.62206823859486</c:v>
                </c:pt>
                <c:pt idx="71">
                  <c:v>112.77340390936959</c:v>
                </c:pt>
                <c:pt idx="72">
                  <c:v>114.81505237893458</c:v>
                </c:pt>
                <c:pt idx="73">
                  <c:v>116.74113463693573</c:v>
                </c:pt>
                <c:pt idx="74">
                  <c:v>118.53588896661358</c:v>
                </c:pt>
                <c:pt idx="75">
                  <c:v>120.20277771203934</c:v>
                </c:pt>
                <c:pt idx="76">
                  <c:v>121.73521252247949</c:v>
                </c:pt>
                <c:pt idx="77">
                  <c:v>123.12535248819074</c:v>
                </c:pt>
                <c:pt idx="78">
                  <c:v>124.3629262620837</c:v>
                </c:pt>
                <c:pt idx="79">
                  <c:v>125.43932354436052</c:v>
                </c:pt>
                <c:pt idx="80">
                  <c:v>126.3536741660939</c:v>
                </c:pt>
                <c:pt idx="81">
                  <c:v>127.10283043602692</c:v>
                </c:pt>
                <c:pt idx="82">
                  <c:v>127.68307771397427</c:v>
                </c:pt>
                <c:pt idx="83">
                  <c:v>128.09076236307104</c:v>
                </c:pt>
                <c:pt idx="84">
                  <c:v>128.3249885983256</c:v>
                </c:pt>
                <c:pt idx="85">
                  <c:v>128.38538329630219</c:v>
                </c:pt>
                <c:pt idx="86">
                  <c:v>128.2723862424769</c:v>
                </c:pt>
                <c:pt idx="87">
                  <c:v>127.98689535438855</c:v>
                </c:pt>
                <c:pt idx="88">
                  <c:v>127.53108893336682</c:v>
                </c:pt>
                <c:pt idx="89">
                  <c:v>126.90752075465434</c:v>
                </c:pt>
                <c:pt idx="90">
                  <c:v>126.11922717322844</c:v>
                </c:pt>
                <c:pt idx="91">
                  <c:v>125.17046564802459</c:v>
                </c:pt>
                <c:pt idx="92">
                  <c:v>124.06640160792281</c:v>
                </c:pt>
                <c:pt idx="93">
                  <c:v>122.81264458937767</c:v>
                </c:pt>
                <c:pt idx="94">
                  <c:v>121.41528031242706</c:v>
                </c:pt>
                <c:pt idx="95">
                  <c:v>119.88098619347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3</c:v>
                </c:pt>
                <c:pt idx="11">
                  <c:v>16</c:v>
                </c:pt>
                <c:pt idx="12">
                  <c:v>17</c:v>
                </c:pt>
                <c:pt idx="13">
                  <c:v>17</c:v>
                </c:pt>
                <c:pt idx="14">
                  <c:v>16</c:v>
                </c:pt>
                <c:pt idx="15">
                  <c:v>14</c:v>
                </c:pt>
                <c:pt idx="16">
                  <c:v>15</c:v>
                </c:pt>
                <c:pt idx="17">
                  <c:v>18</c:v>
                </c:pt>
                <c:pt idx="18">
                  <c:v>21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18</c:v>
                </c:pt>
                <c:pt idx="23">
                  <c:v>19</c:v>
                </c:pt>
                <c:pt idx="24">
                  <c:v>20</c:v>
                </c:pt>
                <c:pt idx="25">
                  <c:v>21</c:v>
                </c:pt>
                <c:pt idx="26">
                  <c:v>25</c:v>
                </c:pt>
                <c:pt idx="27">
                  <c:v>27</c:v>
                </c:pt>
                <c:pt idx="28">
                  <c:v>30</c:v>
                </c:pt>
                <c:pt idx="29">
                  <c:v>32</c:v>
                </c:pt>
                <c:pt idx="30">
                  <c:v>37</c:v>
                </c:pt>
                <c:pt idx="31">
                  <c:v>41</c:v>
                </c:pt>
                <c:pt idx="32">
                  <c:v>45</c:v>
                </c:pt>
                <c:pt idx="33">
                  <c:v>46</c:v>
                </c:pt>
                <c:pt idx="34">
                  <c:v>41</c:v>
                </c:pt>
                <c:pt idx="35">
                  <c:v>51</c:v>
                </c:pt>
                <c:pt idx="36">
                  <c:v>45</c:v>
                </c:pt>
                <c:pt idx="37">
                  <c:v>51</c:v>
                </c:pt>
                <c:pt idx="38">
                  <c:v>55</c:v>
                </c:pt>
                <c:pt idx="39">
                  <c:v>62</c:v>
                </c:pt>
                <c:pt idx="40">
                  <c:v>61</c:v>
                </c:pt>
                <c:pt idx="41">
                  <c:v>65</c:v>
                </c:pt>
                <c:pt idx="42">
                  <c:v>69</c:v>
                </c:pt>
                <c:pt idx="43">
                  <c:v>72</c:v>
                </c:pt>
                <c:pt idx="44">
                  <c:v>73</c:v>
                </c:pt>
                <c:pt idx="45">
                  <c:v>76</c:v>
                </c:pt>
                <c:pt idx="46">
                  <c:v>76</c:v>
                </c:pt>
                <c:pt idx="47">
                  <c:v>80</c:v>
                </c:pt>
                <c:pt idx="48">
                  <c:v>86</c:v>
                </c:pt>
                <c:pt idx="49">
                  <c:v>86</c:v>
                </c:pt>
                <c:pt idx="50">
                  <c:v>90</c:v>
                </c:pt>
                <c:pt idx="51">
                  <c:v>88</c:v>
                </c:pt>
                <c:pt idx="52">
                  <c:v>91</c:v>
                </c:pt>
                <c:pt idx="53">
                  <c:v>98</c:v>
                </c:pt>
                <c:pt idx="54">
                  <c:v>100</c:v>
                </c:pt>
                <c:pt idx="55">
                  <c:v>102</c:v>
                </c:pt>
                <c:pt idx="56">
                  <c:v>103</c:v>
                </c:pt>
                <c:pt idx="57">
                  <c:v>104</c:v>
                </c:pt>
                <c:pt idx="58">
                  <c:v>110</c:v>
                </c:pt>
                <c:pt idx="59">
                  <c:v>114</c:v>
                </c:pt>
                <c:pt idx="60">
                  <c:v>111</c:v>
                </c:pt>
                <c:pt idx="61">
                  <c:v>109</c:v>
                </c:pt>
                <c:pt idx="62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0.863983235838184</c:v>
                </c:pt>
                <c:pt idx="43">
                  <c:v>64.067309062759648</c:v>
                </c:pt>
                <c:pt idx="44">
                  <c:v>67.167380268730227</c:v>
                </c:pt>
                <c:pt idx="45">
                  <c:v>70.121202067991305</c:v>
                </c:pt>
                <c:pt idx="46">
                  <c:v>73.05229897836719</c:v>
                </c:pt>
                <c:pt idx="47">
                  <c:v>76.00432842091638</c:v>
                </c:pt>
                <c:pt idx="48">
                  <c:v>78.881714812979794</c:v>
                </c:pt>
                <c:pt idx="49">
                  <c:v>81.67459772598886</c:v>
                </c:pt>
                <c:pt idx="50">
                  <c:v>84.237227352316467</c:v>
                </c:pt>
                <c:pt idx="51">
                  <c:v>86.730699520881018</c:v>
                </c:pt>
                <c:pt idx="52">
                  <c:v>89.130545778062</c:v>
                </c:pt>
                <c:pt idx="53">
                  <c:v>91.499280979714456</c:v>
                </c:pt>
                <c:pt idx="54">
                  <c:v>93.681698812351641</c:v>
                </c:pt>
                <c:pt idx="55">
                  <c:v>95.741461524731875</c:v>
                </c:pt>
                <c:pt idx="56">
                  <c:v>97.760754828377429</c:v>
                </c:pt>
                <c:pt idx="57">
                  <c:v>99.649215118426639</c:v>
                </c:pt>
                <c:pt idx="58">
                  <c:v>101.43412558286516</c:v>
                </c:pt>
                <c:pt idx="59">
                  <c:v>103.09526822509706</c:v>
                </c:pt>
                <c:pt idx="60">
                  <c:v>104.68478345356277</c:v>
                </c:pt>
                <c:pt idx="61">
                  <c:v>106.15704516996769</c:v>
                </c:pt>
                <c:pt idx="62">
                  <c:v>107.50080394993273</c:v>
                </c:pt>
                <c:pt idx="63">
                  <c:v>108.7531620482243</c:v>
                </c:pt>
                <c:pt idx="64">
                  <c:v>109.92675350542359</c:v>
                </c:pt>
                <c:pt idx="65">
                  <c:v>110.97523596082837</c:v>
                </c:pt>
                <c:pt idx="66">
                  <c:v>111.90399971061281</c:v>
                </c:pt>
                <c:pt idx="67">
                  <c:v>112.73168954551002</c:v>
                </c:pt>
                <c:pt idx="68">
                  <c:v>113.46725406728069</c:v>
                </c:pt>
                <c:pt idx="69">
                  <c:v>114.10612987080957</c:v>
                </c:pt>
                <c:pt idx="70">
                  <c:v>114.64261926977559</c:v>
                </c:pt>
                <c:pt idx="71">
                  <c:v>115.09077627238827</c:v>
                </c:pt>
                <c:pt idx="72">
                  <c:v>115.43321879012572</c:v>
                </c:pt>
                <c:pt idx="73">
                  <c:v>115.67312801758356</c:v>
                </c:pt>
                <c:pt idx="74">
                  <c:v>115.79942828247601</c:v>
                </c:pt>
                <c:pt idx="75">
                  <c:v>115.82967043042908</c:v>
                </c:pt>
                <c:pt idx="76">
                  <c:v>115.76534189358577</c:v>
                </c:pt>
                <c:pt idx="77">
                  <c:v>115.60582563957195</c:v>
                </c:pt>
                <c:pt idx="78">
                  <c:v>115.34695267394952</c:v>
                </c:pt>
                <c:pt idx="79">
                  <c:v>114.98577396122505</c:v>
                </c:pt>
                <c:pt idx="80">
                  <c:v>114.52887546857536</c:v>
                </c:pt>
                <c:pt idx="81">
                  <c:v>113.97929530344445</c:v>
                </c:pt>
                <c:pt idx="82">
                  <c:v>113.33817492684706</c:v>
                </c:pt>
                <c:pt idx="83">
                  <c:v>112.60569260418946</c:v>
                </c:pt>
                <c:pt idx="84">
                  <c:v>111.78512599181616</c:v>
                </c:pt>
                <c:pt idx="85">
                  <c:v>110.87944946596767</c:v>
                </c:pt>
                <c:pt idx="86">
                  <c:v>109.89175129217811</c:v>
                </c:pt>
                <c:pt idx="87">
                  <c:v>108.8246617732967</c:v>
                </c:pt>
                <c:pt idx="88">
                  <c:v>107.68166599910461</c:v>
                </c:pt>
                <c:pt idx="89">
                  <c:v>106.46576473234015</c:v>
                </c:pt>
                <c:pt idx="90">
                  <c:v>105.17968187454102</c:v>
                </c:pt>
                <c:pt idx="91">
                  <c:v>103.82695919267258</c:v>
                </c:pt>
                <c:pt idx="92">
                  <c:v>102.41156105464314</c:v>
                </c:pt>
                <c:pt idx="93">
                  <c:v>100.93724484674743</c:v>
                </c:pt>
                <c:pt idx="94">
                  <c:v>99.407675912235163</c:v>
                </c:pt>
                <c:pt idx="95">
                  <c:v>97.8266761847060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0.989180676010662</c:v>
                </c:pt>
                <c:pt idx="43">
                  <c:v>64.367788952167388</c:v>
                </c:pt>
                <c:pt idx="44">
                  <c:v>67.698865351149692</c:v>
                </c:pt>
                <c:pt idx="45">
                  <c:v>70.944598681379816</c:v>
                </c:pt>
                <c:pt idx="46">
                  <c:v>74.231934508155902</c:v>
                </c:pt>
                <c:pt idx="47">
                  <c:v>77.610025374425248</c:v>
                </c:pt>
                <c:pt idx="48">
                  <c:v>80.984049241572421</c:v>
                </c:pt>
                <c:pt idx="49">
                  <c:v>84.346372811557188</c:v>
                </c:pt>
                <c:pt idx="50">
                  <c:v>87.550966564410345</c:v>
                </c:pt>
                <c:pt idx="51">
                  <c:v>90.758865824754295</c:v>
                </c:pt>
                <c:pt idx="52">
                  <c:v>93.944828264933534</c:v>
                </c:pt>
                <c:pt idx="53">
                  <c:v>97.169044934106864</c:v>
                </c:pt>
                <c:pt idx="54">
                  <c:v>100.27457624080486</c:v>
                </c:pt>
                <c:pt idx="55">
                  <c:v>103.32134737321323</c:v>
                </c:pt>
                <c:pt idx="56">
                  <c:v>106.38861067619273</c:v>
                </c:pt>
                <c:pt idx="57">
                  <c:v>109.38205808721267</c:v>
                </c:pt>
                <c:pt idx="58">
                  <c:v>112.32418367417094</c:v>
                </c:pt>
                <c:pt idx="59">
                  <c:v>115.18750600002497</c:v>
                </c:pt>
                <c:pt idx="60">
                  <c:v>118.01980521054799</c:v>
                </c:pt>
                <c:pt idx="61">
                  <c:v>120.76853161602531</c:v>
                </c:pt>
                <c:pt idx="62">
                  <c:v>123.4171019858627</c:v>
                </c:pt>
                <c:pt idx="63">
                  <c:v>125.99769864806947</c:v>
                </c:pt>
                <c:pt idx="64">
                  <c:v>128.51621527706277</c:v>
                </c:pt>
                <c:pt idx="65">
                  <c:v>130.91997761949236</c:v>
                </c:pt>
                <c:pt idx="66">
                  <c:v>133.20839722686082</c:v>
                </c:pt>
                <c:pt idx="67">
                  <c:v>135.39495219927949</c:v>
                </c:pt>
                <c:pt idx="68">
                  <c:v>137.48272420534616</c:v>
                </c:pt>
                <c:pt idx="69">
                  <c:v>139.46136179782502</c:v>
                </c:pt>
                <c:pt idx="70">
                  <c:v>141.31924682719887</c:v>
                </c:pt>
                <c:pt idx="71">
                  <c:v>143.06453980144715</c:v>
                </c:pt>
                <c:pt idx="72">
                  <c:v>144.67393148687316</c:v>
                </c:pt>
                <c:pt idx="73">
                  <c:v>146.14553465753755</c:v>
                </c:pt>
                <c:pt idx="74">
                  <c:v>147.46312958015108</c:v>
                </c:pt>
                <c:pt idx="75">
                  <c:v>148.63969501704059</c:v>
                </c:pt>
                <c:pt idx="76">
                  <c:v>149.67220638816093</c:v>
                </c:pt>
                <c:pt idx="77">
                  <c:v>150.55583283004358</c:v>
                </c:pt>
                <c:pt idx="78">
                  <c:v>151.28203506297501</c:v>
                </c:pt>
                <c:pt idx="79">
                  <c:v>151.84409661396467</c:v>
                </c:pt>
                <c:pt idx="80">
                  <c:v>152.24565112791936</c:v>
                </c:pt>
                <c:pt idx="81">
                  <c:v>152.48687357912289</c:v>
                </c:pt>
                <c:pt idx="82">
                  <c:v>152.56643193167497</c:v>
                </c:pt>
                <c:pt idx="83">
                  <c:v>152.48242676018072</c:v>
                </c:pt>
                <c:pt idx="84">
                  <c:v>152.2364530765405</c:v>
                </c:pt>
                <c:pt idx="85">
                  <c:v>151.83021251430887</c:v>
                </c:pt>
                <c:pt idx="86">
                  <c:v>151.26592532669923</c:v>
                </c:pt>
                <c:pt idx="87">
                  <c:v>150.54575904859064</c:v>
                </c:pt>
                <c:pt idx="88">
                  <c:v>149.67313183155008</c:v>
                </c:pt>
                <c:pt idx="89">
                  <c:v>148.65136125043807</c:v>
                </c:pt>
                <c:pt idx="90">
                  <c:v>147.48385295931604</c:v>
                </c:pt>
                <c:pt idx="91">
                  <c:v>146.17518002107352</c:v>
                </c:pt>
                <c:pt idx="92">
                  <c:v>144.73067457425356</c:v>
                </c:pt>
                <c:pt idx="93">
                  <c:v>143.15577944302387</c:v>
                </c:pt>
                <c:pt idx="94">
                  <c:v>141.45613877390281</c:v>
                </c:pt>
                <c:pt idx="95">
                  <c:v>139.63781175775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1.11508795912637</c:v>
                </c:pt>
                <c:pt idx="43">
                  <c:v>64.670850715406232</c:v>
                </c:pt>
                <c:pt idx="44">
                  <c:v>68.236780805005537</c:v>
                </c:pt>
                <c:pt idx="45">
                  <c:v>71.781251149909338</c:v>
                </c:pt>
                <c:pt idx="46">
                  <c:v>75.435780932567639</c:v>
                </c:pt>
                <c:pt idx="47">
                  <c:v>79.256309411651927</c:v>
                </c:pt>
                <c:pt idx="48">
                  <c:v>83.150151053973559</c:v>
                </c:pt>
                <c:pt idx="49">
                  <c:v>87.113365690973467</c:v>
                </c:pt>
                <c:pt idx="50">
                  <c:v>91.001145488837295</c:v>
                </c:pt>
                <c:pt idx="51">
                  <c:v>94.975978981063349</c:v>
                </c:pt>
                <c:pt idx="52">
                  <c:v>99.013338512366914</c:v>
                </c:pt>
                <c:pt idx="53">
                  <c:v>103.17250787777247</c:v>
                </c:pt>
                <c:pt idx="54">
                  <c:v>107.2961274908138</c:v>
                </c:pt>
                <c:pt idx="55">
                  <c:v>111.44155160290083</c:v>
                </c:pt>
                <c:pt idx="56">
                  <c:v>115.68610972052844</c:v>
                </c:pt>
                <c:pt idx="57">
                  <c:v>119.93236055430536</c:v>
                </c:pt>
                <c:pt idx="58">
                  <c:v>124.19860176566831</c:v>
                </c:pt>
                <c:pt idx="59">
                  <c:v>128.45042624239929</c:v>
                </c:pt>
                <c:pt idx="60">
                  <c:v>132.73131723968186</c:v>
                </c:pt>
                <c:pt idx="61">
                  <c:v>136.98155767612661</c:v>
                </c:pt>
                <c:pt idx="62">
                  <c:v>141.17867318658</c:v>
                </c:pt>
                <c:pt idx="63">
                  <c:v>145.34905408993859</c:v>
                </c:pt>
                <c:pt idx="64">
                  <c:v>149.49065887496613</c:v>
                </c:pt>
                <c:pt idx="65">
                  <c:v>153.54299504231557</c:v>
                </c:pt>
                <c:pt idx="66">
                  <c:v>157.49772825567351</c:v>
                </c:pt>
                <c:pt idx="67">
                  <c:v>161.36111490644635</c:v>
                </c:pt>
                <c:pt idx="68">
                  <c:v>165.12804885178713</c:v>
                </c:pt>
                <c:pt idx="69">
                  <c:v>168.779830292236</c:v>
                </c:pt>
                <c:pt idx="70">
                  <c:v>172.29615078937587</c:v>
                </c:pt>
                <c:pt idx="71">
                  <c:v>175.6763294846769</c:v>
                </c:pt>
                <c:pt idx="72">
                  <c:v>178.88805031401859</c:v>
                </c:pt>
                <c:pt idx="73">
                  <c:v>181.92118829965406</c:v>
                </c:pt>
                <c:pt idx="74">
                  <c:v>184.75115604280208</c:v>
                </c:pt>
                <c:pt idx="75">
                  <c:v>187.38312493236032</c:v>
                </c:pt>
                <c:pt idx="76">
                  <c:v>189.80635533200967</c:v>
                </c:pt>
                <c:pt idx="77">
                  <c:v>192.00867503242068</c:v>
                </c:pt>
                <c:pt idx="78">
                  <c:v>193.97416331724941</c:v>
                </c:pt>
                <c:pt idx="79">
                  <c:v>195.68948391227141</c:v>
                </c:pt>
                <c:pt idx="80">
                  <c:v>197.15266559852222</c:v>
                </c:pt>
                <c:pt idx="81">
                  <c:v>198.3586008342871</c:v>
                </c:pt>
                <c:pt idx="82">
                  <c:v>199.30132819469239</c:v>
                </c:pt>
                <c:pt idx="83">
                  <c:v>199.97500603671841</c:v>
                </c:pt>
                <c:pt idx="84">
                  <c:v>200.37799676244623</c:v>
                </c:pt>
                <c:pt idx="85">
                  <c:v>200.50951170087598</c:v>
                </c:pt>
                <c:pt idx="86">
                  <c:v>200.37003104277613</c:v>
                </c:pt>
                <c:pt idx="87">
                  <c:v>199.96074134000105</c:v>
                </c:pt>
                <c:pt idx="88">
                  <c:v>199.28483212423575</c:v>
                </c:pt>
                <c:pt idx="89">
                  <c:v>198.34612957127638</c:v>
                </c:pt>
                <c:pt idx="90">
                  <c:v>197.1492584396467</c:v>
                </c:pt>
                <c:pt idx="91">
                  <c:v>195.70069416624895</c:v>
                </c:pt>
                <c:pt idx="92">
                  <c:v>194.0083247706996</c:v>
                </c:pt>
                <c:pt idx="93">
                  <c:v>192.08076325298214</c:v>
                </c:pt>
                <c:pt idx="94">
                  <c:v>189.92738990497037</c:v>
                </c:pt>
                <c:pt idx="95">
                  <c:v>187.55851571004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33</c:v>
                </c:pt>
                <c:pt idx="1">
                  <c:v>138</c:v>
                </c:pt>
                <c:pt idx="2">
                  <c:v>145</c:v>
                </c:pt>
                <c:pt idx="3">
                  <c:v>153</c:v>
                </c:pt>
                <c:pt idx="4">
                  <c:v>171</c:v>
                </c:pt>
                <c:pt idx="5">
                  <c:v>193</c:v>
                </c:pt>
                <c:pt idx="6">
                  <c:v>197</c:v>
                </c:pt>
                <c:pt idx="7">
                  <c:v>205</c:v>
                </c:pt>
                <c:pt idx="8">
                  <c:v>212</c:v>
                </c:pt>
                <c:pt idx="9">
                  <c:v>219</c:v>
                </c:pt>
                <c:pt idx="10">
                  <c:v>244</c:v>
                </c:pt>
                <c:pt idx="11">
                  <c:v>260</c:v>
                </c:pt>
                <c:pt idx="12">
                  <c:v>268</c:v>
                </c:pt>
                <c:pt idx="13">
                  <c:v>284</c:v>
                </c:pt>
                <c:pt idx="14">
                  <c:v>297</c:v>
                </c:pt>
                <c:pt idx="15">
                  <c:v>309</c:v>
                </c:pt>
                <c:pt idx="16">
                  <c:v>320</c:v>
                </c:pt>
                <c:pt idx="17">
                  <c:v>347</c:v>
                </c:pt>
                <c:pt idx="18">
                  <c:v>367</c:v>
                </c:pt>
                <c:pt idx="19">
                  <c:v>389</c:v>
                </c:pt>
                <c:pt idx="20">
                  <c:v>408</c:v>
                </c:pt>
                <c:pt idx="21">
                  <c:v>435</c:v>
                </c:pt>
                <c:pt idx="22">
                  <c:v>458</c:v>
                </c:pt>
                <c:pt idx="23">
                  <c:v>481</c:v>
                </c:pt>
                <c:pt idx="24">
                  <c:v>505</c:v>
                </c:pt>
                <c:pt idx="25">
                  <c:v>534</c:v>
                </c:pt>
                <c:pt idx="26">
                  <c:v>579</c:v>
                </c:pt>
                <c:pt idx="27">
                  <c:v>607</c:v>
                </c:pt>
                <c:pt idx="28">
                  <c:v>648</c:v>
                </c:pt>
                <c:pt idx="29">
                  <c:v>686</c:v>
                </c:pt>
                <c:pt idx="30">
                  <c:v>724</c:v>
                </c:pt>
                <c:pt idx="31">
                  <c:v>784</c:v>
                </c:pt>
                <c:pt idx="32">
                  <c:v>833</c:v>
                </c:pt>
                <c:pt idx="33">
                  <c:v>886</c:v>
                </c:pt>
                <c:pt idx="34">
                  <c:v>939</c:v>
                </c:pt>
                <c:pt idx="35">
                  <c:v>1011</c:v>
                </c:pt>
                <c:pt idx="36">
                  <c:v>1063</c:v>
                </c:pt>
                <c:pt idx="37">
                  <c:v>1124</c:v>
                </c:pt>
                <c:pt idx="38">
                  <c:v>1213</c:v>
                </c:pt>
                <c:pt idx="39">
                  <c:v>1287</c:v>
                </c:pt>
                <c:pt idx="40">
                  <c:v>1358</c:v>
                </c:pt>
                <c:pt idx="41">
                  <c:v>1420</c:v>
                </c:pt>
                <c:pt idx="42">
                  <c:v>1495</c:v>
                </c:pt>
                <c:pt idx="43">
                  <c:v>1573</c:v>
                </c:pt>
                <c:pt idx="44">
                  <c:v>1645</c:v>
                </c:pt>
                <c:pt idx="45">
                  <c:v>1733</c:v>
                </c:pt>
                <c:pt idx="46">
                  <c:v>1818</c:v>
                </c:pt>
                <c:pt idx="47">
                  <c:v>1917</c:v>
                </c:pt>
                <c:pt idx="48">
                  <c:v>2018</c:v>
                </c:pt>
                <c:pt idx="49">
                  <c:v>2134</c:v>
                </c:pt>
                <c:pt idx="50">
                  <c:v>2228</c:v>
                </c:pt>
                <c:pt idx="51">
                  <c:v>2323</c:v>
                </c:pt>
                <c:pt idx="52">
                  <c:v>2441</c:v>
                </c:pt>
                <c:pt idx="53">
                  <c:v>2563</c:v>
                </c:pt>
                <c:pt idx="54">
                  <c:v>2682</c:v>
                </c:pt>
                <c:pt idx="55">
                  <c:v>2801</c:v>
                </c:pt>
                <c:pt idx="56">
                  <c:v>2929</c:v>
                </c:pt>
                <c:pt idx="57">
                  <c:v>3034</c:v>
                </c:pt>
                <c:pt idx="58">
                  <c:v>3111</c:v>
                </c:pt>
                <c:pt idx="59">
                  <c:v>3239</c:v>
                </c:pt>
                <c:pt idx="60">
                  <c:v>3356</c:v>
                </c:pt>
                <c:pt idx="61">
                  <c:v>3473</c:v>
                </c:pt>
                <c:pt idx="62">
                  <c:v>3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00.3906796197946</c:v>
                </c:pt>
                <c:pt idx="43">
                  <c:v>1582.6257753358059</c:v>
                </c:pt>
                <c:pt idx="44">
                  <c:v>1666.4763945013476</c:v>
                </c:pt>
                <c:pt idx="45">
                  <c:v>1751.474636368363</c:v>
                </c:pt>
                <c:pt idx="46">
                  <c:v>1839.2843234284246</c:v>
                </c:pt>
                <c:pt idx="47">
                  <c:v>1929.0120346059089</c:v>
                </c:pt>
                <c:pt idx="48">
                  <c:v>2021.0482154263159</c:v>
                </c:pt>
                <c:pt idx="49">
                  <c:v>2114.6005991366537</c:v>
                </c:pt>
                <c:pt idx="50">
                  <c:v>2209.3614262280544</c:v>
                </c:pt>
                <c:pt idx="51">
                  <c:v>2305.5512591488259</c:v>
                </c:pt>
                <c:pt idx="52">
                  <c:v>2403.0853259168134</c:v>
                </c:pt>
                <c:pt idx="53">
                  <c:v>2502.2958750060989</c:v>
                </c:pt>
                <c:pt idx="54">
                  <c:v>2602.7062434144837</c:v>
                </c:pt>
                <c:pt idx="55">
                  <c:v>2704.2733684240507</c:v>
                </c:pt>
                <c:pt idx="56">
                  <c:v>2806.8869068936556</c:v>
                </c:pt>
                <c:pt idx="57">
                  <c:v>2910.5397476380103</c:v>
                </c:pt>
                <c:pt idx="58">
                  <c:v>3015.0337481825859</c:v>
                </c:pt>
                <c:pt idx="59">
                  <c:v>3120.2354877967828</c:v>
                </c:pt>
                <c:pt idx="60">
                  <c:v>3226.0869950753381</c:v>
                </c:pt>
                <c:pt idx="61">
                  <c:v>3332.7821956597554</c:v>
                </c:pt>
                <c:pt idx="62">
                  <c:v>3440.0870319120049</c:v>
                </c:pt>
                <c:pt idx="63">
                  <c:v>3547.8857943690405</c:v>
                </c:pt>
                <c:pt idx="64">
                  <c:v>3656.0909470312108</c:v>
                </c:pt>
                <c:pt idx="65">
                  <c:v>3764.6151095552286</c:v>
                </c:pt>
                <c:pt idx="66">
                  <c:v>3873.3715498772654</c:v>
                </c:pt>
                <c:pt idx="67">
                  <c:v>3982.2718133817634</c:v>
                </c:pt>
                <c:pt idx="68">
                  <c:v>4091.2262422543595</c:v>
                </c:pt>
                <c:pt idx="69">
                  <c:v>4200.1442920711625</c:v>
                </c:pt>
                <c:pt idx="70">
                  <c:v>4308.9349195273799</c:v>
                </c:pt>
                <c:pt idx="71">
                  <c:v>4417.5068267418555</c:v>
                </c:pt>
                <c:pt idx="72">
                  <c:v>4525.76977832797</c:v>
                </c:pt>
                <c:pt idx="73">
                  <c:v>4633.6349781449517</c:v>
                </c:pt>
                <c:pt idx="74">
                  <c:v>4741.0150391969137</c:v>
                </c:pt>
                <c:pt idx="75">
                  <c:v>4847.8239853009472</c:v>
                </c:pt>
                <c:pt idx="76">
                  <c:v>4953.9776249098941</c:v>
                </c:pt>
                <c:pt idx="77">
                  <c:v>5059.3936750613439</c:v>
                </c:pt>
                <c:pt idx="78">
                  <c:v>5163.9921297040437</c:v>
                </c:pt>
                <c:pt idx="79">
                  <c:v>5267.6955495282846</c:v>
                </c:pt>
                <c:pt idx="80">
                  <c:v>5370.4293510263415</c:v>
                </c:pt>
                <c:pt idx="81">
                  <c:v>5472.1219652100581</c:v>
                </c:pt>
                <c:pt idx="82">
                  <c:v>5572.7048584328322</c:v>
                </c:pt>
                <c:pt idx="83">
                  <c:v>5672.1126941971406</c:v>
                </c:pt>
                <c:pt idx="84">
                  <c:v>5770.283440401543</c:v>
                </c:pt>
                <c:pt idx="85">
                  <c:v>5867.1584729766728</c:v>
                </c:pt>
                <c:pt idx="86">
                  <c:v>5962.682643503671</c:v>
                </c:pt>
                <c:pt idx="87">
                  <c:v>6056.8043899156719</c:v>
                </c:pt>
                <c:pt idx="88">
                  <c:v>6149.4758151219021</c:v>
                </c:pt>
                <c:pt idx="89">
                  <c:v>6240.6526941109687</c:v>
                </c:pt>
                <c:pt idx="90">
                  <c:v>6330.29444485556</c:v>
                </c:pt>
                <c:pt idx="91">
                  <c:v>6418.3641494045778</c:v>
                </c:pt>
                <c:pt idx="92">
                  <c:v>6504.828533906817</c:v>
                </c:pt>
                <c:pt idx="93">
                  <c:v>6589.6579415350925</c:v>
                </c:pt>
                <c:pt idx="94">
                  <c:v>6672.8262863335613</c:v>
                </c:pt>
                <c:pt idx="95">
                  <c:v>6754.3111099961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01.4843274492912</c:v>
                </c:pt>
                <c:pt idx="43">
                  <c:v>1585.3196855377473</c:v>
                </c:pt>
                <c:pt idx="44">
                  <c:v>1671.3618407568913</c:v>
                </c:pt>
                <c:pt idx="45">
                  <c:v>1759.2262803137221</c:v>
                </c:pt>
                <c:pt idx="46">
                  <c:v>1850.6559327573243</c:v>
                </c:pt>
                <c:pt idx="47">
                  <c:v>1944.8381707012097</c:v>
                </c:pt>
                <c:pt idx="48">
                  <c:v>2042.2364517653627</c:v>
                </c:pt>
                <c:pt idx="49">
                  <c:v>2142.126895803437</c:v>
                </c:pt>
                <c:pt idx="50">
                  <c:v>2244.263296391252</c:v>
                </c:pt>
                <c:pt idx="51">
                  <c:v>2348.9190172946837</c:v>
                </c:pt>
                <c:pt idx="52">
                  <c:v>2456.0568430176081</c:v>
                </c:pt>
                <c:pt idx="53">
                  <c:v>2566.0497975414637</c:v>
                </c:pt>
                <c:pt idx="54">
                  <c:v>2678.460533587484</c:v>
                </c:pt>
                <c:pt idx="55">
                  <c:v>2793.2761206822574</c:v>
                </c:pt>
                <c:pt idx="56">
                  <c:v>2910.4094896884794</c:v>
                </c:pt>
                <c:pt idx="57">
                  <c:v>3029.8707111122567</c:v>
                </c:pt>
                <c:pt idx="58">
                  <c:v>3151.4737257896113</c:v>
                </c:pt>
                <c:pt idx="59">
                  <c:v>3275.0914569679335</c:v>
                </c:pt>
                <c:pt idx="60">
                  <c:v>3400.6663552541722</c:v>
                </c:pt>
                <c:pt idx="61">
                  <c:v>3528.3869815883572</c:v>
                </c:pt>
                <c:pt idx="62">
                  <c:v>3658.010069663419</c:v>
                </c:pt>
                <c:pt idx="63">
                  <c:v>3789.4040297113861</c:v>
                </c:pt>
                <c:pt idx="64">
                  <c:v>3922.4592559765752</c:v>
                </c:pt>
                <c:pt idx="65">
                  <c:v>4057.0613234154939</c:v>
                </c:pt>
                <c:pt idx="66">
                  <c:v>4193.0918151356273</c:v>
                </c:pt>
                <c:pt idx="67">
                  <c:v>4330.4252191838023</c:v>
                </c:pt>
                <c:pt idx="68">
                  <c:v>4468.9297923463819</c:v>
                </c:pt>
                <c:pt idx="69">
                  <c:v>4608.4681076607776</c:v>
                </c:pt>
                <c:pt idx="70">
                  <c:v>4748.8977413261509</c:v>
                </c:pt>
                <c:pt idx="71">
                  <c:v>4890.071759511723</c:v>
                </c:pt>
                <c:pt idx="72">
                  <c:v>5031.8407742593354</c:v>
                </c:pt>
                <c:pt idx="73">
                  <c:v>5174.0536821768874</c:v>
                </c:pt>
                <c:pt idx="74">
                  <c:v>5316.5578691913024</c:v>
                </c:pt>
                <c:pt idx="75">
                  <c:v>5459.1995000772458</c:v>
                </c:pt>
                <c:pt idx="76">
                  <c:v>5601.8243363063475</c:v>
                </c:pt>
                <c:pt idx="77">
                  <c:v>5744.2782176868468</c:v>
                </c:pt>
                <c:pt idx="78">
                  <c:v>5886.407893059999</c:v>
                </c:pt>
                <c:pt idx="79">
                  <c:v>6028.0617488561938</c:v>
                </c:pt>
                <c:pt idx="80">
                  <c:v>6169.0905474219726</c:v>
                </c:pt>
                <c:pt idx="81">
                  <c:v>6309.34798181529</c:v>
                </c:pt>
                <c:pt idx="82">
                  <c:v>6448.6910400109564</c:v>
                </c:pt>
                <c:pt idx="83">
                  <c:v>6586.9805596175029</c:v>
                </c:pt>
                <c:pt idx="84">
                  <c:v>6724.0816951071602</c:v>
                </c:pt>
                <c:pt idx="85">
                  <c:v>6859.864371314452</c:v>
                </c:pt>
                <c:pt idx="86">
                  <c:v>6994.2036714155274</c:v>
                </c:pt>
                <c:pt idx="87">
                  <c:v>7126.9802707609888</c:v>
                </c:pt>
                <c:pt idx="88">
                  <c:v>7258.0808059944229</c:v>
                </c:pt>
                <c:pt idx="89">
                  <c:v>7387.3981266447445</c:v>
                </c:pt>
                <c:pt idx="90">
                  <c:v>7514.8314760943313</c:v>
                </c:pt>
                <c:pt idx="91">
                  <c:v>7640.2867200164255</c:v>
                </c:pt>
                <c:pt idx="92">
                  <c:v>7763.6764950472298</c:v>
                </c:pt>
                <c:pt idx="93">
                  <c:v>7884.920324607463</c:v>
                </c:pt>
                <c:pt idx="94">
                  <c:v>8003.9446850196364</c:v>
                </c:pt>
                <c:pt idx="95">
                  <c:v>8120.6830693253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02.5841791768044</c:v>
                </c:pt>
                <c:pt idx="43">
                  <c:v>1588.0365445280831</c:v>
                </c:pt>
                <c:pt idx="44">
                  <c:v>1676.3053147382977</c:v>
                </c:pt>
                <c:pt idx="45">
                  <c:v>1767.0992898064014</c:v>
                </c:pt>
                <c:pt idx="46">
                  <c:v>1862.2524472620698</c:v>
                </c:pt>
                <c:pt idx="47">
                  <c:v>1961.0468200744008</c:v>
                </c:pt>
                <c:pt idx="48">
                  <c:v>2064.0345238864434</c:v>
                </c:pt>
                <c:pt idx="49">
                  <c:v>2170.5773860190016</c:v>
                </c:pt>
                <c:pt idx="50">
                  <c:v>2280.5095210795848</c:v>
                </c:pt>
                <c:pt idx="51">
                  <c:v>2394.1771032424003</c:v>
                </c:pt>
                <c:pt idx="52">
                  <c:v>2511.6114461324996</c:v>
                </c:pt>
                <c:pt idx="53">
                  <c:v>2633.2479034984513</c:v>
                </c:pt>
                <c:pt idx="54">
                  <c:v>2758.7102468468292</c:v>
                </c:pt>
                <c:pt idx="55">
                  <c:v>2888.0373546261626</c:v>
                </c:pt>
                <c:pt idx="56">
                  <c:v>3021.1867550151987</c:v>
                </c:pt>
                <c:pt idx="57">
                  <c:v>3158.2062252226683</c:v>
                </c:pt>
                <c:pt idx="58">
                  <c:v>3298.9412309643385</c:v>
                </c:pt>
                <c:pt idx="59">
                  <c:v>3443.2890426251947</c:v>
                </c:pt>
                <c:pt idx="60">
                  <c:v>3591.2086408996593</c:v>
                </c:pt>
                <c:pt idx="61">
                  <c:v>3742.8971052159059</c:v>
                </c:pt>
                <c:pt idx="62">
                  <c:v>3898.113280313406</c:v>
                </c:pt>
                <c:pt idx="63">
                  <c:v>4056.718198698768</c:v>
                </c:pt>
                <c:pt idx="64">
                  <c:v>4218.5856219990183</c:v>
                </c:pt>
                <c:pt idx="65">
                  <c:v>4383.5764427110225</c:v>
                </c:pt>
                <c:pt idx="66">
                  <c:v>4551.5396944028416</c:v>
                </c:pt>
                <c:pt idx="67">
                  <c:v>4722.3083733482872</c:v>
                </c:pt>
                <c:pt idx="68">
                  <c:v>4895.7006024264629</c:v>
                </c:pt>
                <c:pt idx="69">
                  <c:v>5071.5203793283999</c:v>
                </c:pt>
                <c:pt idx="70">
                  <c:v>5249.5585965456567</c:v>
                </c:pt>
                <c:pt idx="71">
                  <c:v>5429.5938363017012</c:v>
                </c:pt>
                <c:pt idx="72">
                  <c:v>5611.3953905653434</c:v>
                </c:pt>
                <c:pt idx="73">
                  <c:v>5794.7245425068431</c:v>
                </c:pt>
                <c:pt idx="74">
                  <c:v>5979.3352014368047</c:v>
                </c:pt>
                <c:pt idx="75">
                  <c:v>6164.9747276953567</c:v>
                </c:pt>
                <c:pt idx="76">
                  <c:v>6351.3855128161176</c:v>
                </c:pt>
                <c:pt idx="77">
                  <c:v>6538.306147342435</c:v>
                </c:pt>
                <c:pt idx="78">
                  <c:v>6725.4730925868644</c:v>
                </c:pt>
                <c:pt idx="79">
                  <c:v>6912.6222404804621</c:v>
                </c:pt>
                <c:pt idx="80">
                  <c:v>7099.4905128160972</c:v>
                </c:pt>
                <c:pt idx="81">
                  <c:v>7285.8172202244277</c:v>
                </c:pt>
                <c:pt idx="82">
                  <c:v>7471.3451696078155</c:v>
                </c:pt>
                <c:pt idx="83">
                  <c:v>7655.822020503796</c:v>
                </c:pt>
                <c:pt idx="84">
                  <c:v>7839.0015052207445</c:v>
                </c:pt>
                <c:pt idx="85">
                  <c:v>8020.6446099851937</c:v>
                </c:pt>
                <c:pt idx="86">
                  <c:v>8200.5206365430895</c:v>
                </c:pt>
                <c:pt idx="87">
                  <c:v>8378.408290645606</c:v>
                </c:pt>
                <c:pt idx="88">
                  <c:v>8554.096640300475</c:v>
                </c:pt>
                <c:pt idx="89">
                  <c:v>8727.3858717235962</c:v>
                </c:pt>
                <c:pt idx="90">
                  <c:v>8898.087901581679</c:v>
                </c:pt>
                <c:pt idx="91">
                  <c:v>9066.0270010583408</c:v>
                </c:pt>
                <c:pt idx="92">
                  <c:v>9231.0402594178577</c:v>
                </c:pt>
                <c:pt idx="93">
                  <c:v>9392.9779499016749</c:v>
                </c:pt>
                <c:pt idx="94">
                  <c:v>9551.7037754012599</c:v>
                </c:pt>
                <c:pt idx="95">
                  <c:v>9707.0950596200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41</c:v>
                </c:pt>
                <c:pt idx="2">
                  <c:v>45</c:v>
                </c:pt>
                <c:pt idx="3">
                  <c:v>48</c:v>
                </c:pt>
                <c:pt idx="4">
                  <c:v>55</c:v>
                </c:pt>
                <c:pt idx="5">
                  <c:v>62</c:v>
                </c:pt>
                <c:pt idx="6">
                  <c:v>62</c:v>
                </c:pt>
                <c:pt idx="7">
                  <c:v>63</c:v>
                </c:pt>
                <c:pt idx="8">
                  <c:v>64</c:v>
                </c:pt>
                <c:pt idx="9">
                  <c:v>66</c:v>
                </c:pt>
                <c:pt idx="10">
                  <c:v>69</c:v>
                </c:pt>
                <c:pt idx="11">
                  <c:v>71</c:v>
                </c:pt>
                <c:pt idx="12">
                  <c:v>71</c:v>
                </c:pt>
                <c:pt idx="13">
                  <c:v>74</c:v>
                </c:pt>
                <c:pt idx="14">
                  <c:v>78</c:v>
                </c:pt>
                <c:pt idx="15">
                  <c:v>78</c:v>
                </c:pt>
                <c:pt idx="16">
                  <c:v>79</c:v>
                </c:pt>
                <c:pt idx="17">
                  <c:v>87</c:v>
                </c:pt>
                <c:pt idx="18">
                  <c:v>89</c:v>
                </c:pt>
                <c:pt idx="19">
                  <c:v>95</c:v>
                </c:pt>
                <c:pt idx="20">
                  <c:v>96</c:v>
                </c:pt>
                <c:pt idx="21">
                  <c:v>98</c:v>
                </c:pt>
                <c:pt idx="22">
                  <c:v>102</c:v>
                </c:pt>
                <c:pt idx="23">
                  <c:v>106</c:v>
                </c:pt>
                <c:pt idx="24">
                  <c:v>111</c:v>
                </c:pt>
                <c:pt idx="25">
                  <c:v>116</c:v>
                </c:pt>
                <c:pt idx="26">
                  <c:v>126</c:v>
                </c:pt>
                <c:pt idx="27">
                  <c:v>129</c:v>
                </c:pt>
                <c:pt idx="28">
                  <c:v>138</c:v>
                </c:pt>
                <c:pt idx="29">
                  <c:v>145</c:v>
                </c:pt>
                <c:pt idx="30">
                  <c:v>149</c:v>
                </c:pt>
                <c:pt idx="31">
                  <c:v>153</c:v>
                </c:pt>
                <c:pt idx="32">
                  <c:v>155</c:v>
                </c:pt>
                <c:pt idx="33">
                  <c:v>171</c:v>
                </c:pt>
                <c:pt idx="34">
                  <c:v>178</c:v>
                </c:pt>
                <c:pt idx="35">
                  <c:v>190</c:v>
                </c:pt>
                <c:pt idx="36">
                  <c:v>195</c:v>
                </c:pt>
                <c:pt idx="37">
                  <c:v>205</c:v>
                </c:pt>
                <c:pt idx="38">
                  <c:v>221</c:v>
                </c:pt>
                <c:pt idx="39">
                  <c:v>235</c:v>
                </c:pt>
                <c:pt idx="40">
                  <c:v>255</c:v>
                </c:pt>
                <c:pt idx="41">
                  <c:v>263</c:v>
                </c:pt>
                <c:pt idx="42">
                  <c:v>275</c:v>
                </c:pt>
                <c:pt idx="43">
                  <c:v>285</c:v>
                </c:pt>
                <c:pt idx="44">
                  <c:v>293</c:v>
                </c:pt>
                <c:pt idx="45">
                  <c:v>306</c:v>
                </c:pt>
                <c:pt idx="46">
                  <c:v>318</c:v>
                </c:pt>
                <c:pt idx="47">
                  <c:v>338</c:v>
                </c:pt>
                <c:pt idx="48">
                  <c:v>351</c:v>
                </c:pt>
                <c:pt idx="49">
                  <c:v>375</c:v>
                </c:pt>
                <c:pt idx="50">
                  <c:v>384</c:v>
                </c:pt>
                <c:pt idx="51">
                  <c:v>399</c:v>
                </c:pt>
                <c:pt idx="52">
                  <c:v>412</c:v>
                </c:pt>
                <c:pt idx="53">
                  <c:v>425</c:v>
                </c:pt>
                <c:pt idx="54">
                  <c:v>445</c:v>
                </c:pt>
                <c:pt idx="55">
                  <c:v>476</c:v>
                </c:pt>
                <c:pt idx="56">
                  <c:v>489</c:v>
                </c:pt>
                <c:pt idx="57">
                  <c:v>511</c:v>
                </c:pt>
                <c:pt idx="58">
                  <c:v>522</c:v>
                </c:pt>
                <c:pt idx="59">
                  <c:v>537</c:v>
                </c:pt>
                <c:pt idx="60">
                  <c:v>552</c:v>
                </c:pt>
                <c:pt idx="61">
                  <c:v>562</c:v>
                </c:pt>
                <c:pt idx="62">
                  <c:v>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4.99508020007795</c:v>
                </c:pt>
                <c:pt idx="43">
                  <c:v>287.25616264354142</c:v>
                </c:pt>
                <c:pt idx="44">
                  <c:v>299.751600740046</c:v>
                </c:pt>
                <c:pt idx="45">
                  <c:v>312.41260656867973</c:v>
                </c:pt>
                <c:pt idx="46">
                  <c:v>325.48274272126207</c:v>
                </c:pt>
                <c:pt idx="47">
                  <c:v>338.83292210670663</c:v>
                </c:pt>
                <c:pt idx="48">
                  <c:v>352.53006599815342</c:v>
                </c:pt>
                <c:pt idx="49">
                  <c:v>366.45083787061463</c:v>
                </c:pt>
                <c:pt idx="50">
                  <c:v>380.54512595263105</c:v>
                </c:pt>
                <c:pt idx="51">
                  <c:v>394.85326624215014</c:v>
                </c:pt>
                <c:pt idx="52">
                  <c:v>409.3680316239051</c:v>
                </c:pt>
                <c:pt idx="53">
                  <c:v>424.12967411070804</c:v>
                </c:pt>
                <c:pt idx="54">
                  <c:v>439.06521399964168</c:v>
                </c:pt>
                <c:pt idx="55">
                  <c:v>454.17337781453364</c:v>
                </c:pt>
                <c:pt idx="56">
                  <c:v>469.439726429281</c:v>
                </c:pt>
                <c:pt idx="57">
                  <c:v>484.86413856161732</c:v>
                </c:pt>
                <c:pt idx="58">
                  <c:v>500.41471954890562</c:v>
                </c:pt>
                <c:pt idx="59">
                  <c:v>516.07378655697221</c:v>
                </c:pt>
                <c:pt idx="60">
                  <c:v>531.83251645995438</c:v>
                </c:pt>
                <c:pt idx="61">
                  <c:v>547.71655887934639</c:v>
                </c:pt>
                <c:pt idx="62">
                  <c:v>563.6928921899962</c:v>
                </c:pt>
                <c:pt idx="63">
                  <c:v>579.74467664194412</c:v>
                </c:pt>
                <c:pt idx="64">
                  <c:v>595.85890501245581</c:v>
                </c:pt>
                <c:pt idx="65">
                  <c:v>612.02258920141082</c:v>
                </c:pt>
                <c:pt idx="66">
                  <c:v>628.22283139726778</c:v>
                </c:pt>
                <c:pt idx="67">
                  <c:v>644.44647185133522</c:v>
                </c:pt>
                <c:pt idx="68">
                  <c:v>660.6801626717106</c:v>
                </c:pt>
                <c:pt idx="69">
                  <c:v>676.91041690654379</c:v>
                </c:pt>
                <c:pt idx="70">
                  <c:v>693.12366785446261</c:v>
                </c:pt>
                <c:pt idx="71">
                  <c:v>709.30630784388029</c:v>
                </c:pt>
                <c:pt idx="72">
                  <c:v>725.44488162273365</c:v>
                </c:pt>
                <c:pt idx="73">
                  <c:v>741.52614205889768</c:v>
                </c:pt>
                <c:pt idx="74">
                  <c:v>757.53704540918977</c:v>
                </c:pt>
                <c:pt idx="75">
                  <c:v>773.46475289091063</c:v>
                </c:pt>
                <c:pt idx="76">
                  <c:v>789.29668520504072</c:v>
                </c:pt>
                <c:pt idx="77">
                  <c:v>805.02054125082589</c:v>
                </c:pt>
                <c:pt idx="78">
                  <c:v>820.62435414679908</c:v>
                </c:pt>
                <c:pt idx="79">
                  <c:v>836.09653526280704</c:v>
                </c:pt>
                <c:pt idx="80">
                  <c:v>851.42591644742208</c:v>
                </c:pt>
                <c:pt idx="81">
                  <c:v>866.60177335792685</c:v>
                </c:pt>
                <c:pt idx="82">
                  <c:v>881.61383058038268</c:v>
                </c:pt>
                <c:pt idx="83">
                  <c:v>896.45228609422509</c:v>
                </c:pt>
                <c:pt idx="84">
                  <c:v>911.10782733642691</c:v>
                </c:pt>
                <c:pt idx="85">
                  <c:v>925.57164691933781</c:v>
                </c:pt>
                <c:pt idx="86">
                  <c:v>939.83545332289793</c:v>
                </c:pt>
                <c:pt idx="87">
                  <c:v>953.89148740270934</c:v>
                </c:pt>
                <c:pt idx="88">
                  <c:v>967.73253394911205</c:v>
                </c:pt>
                <c:pt idx="89">
                  <c:v>981.35192347725467</c:v>
                </c:pt>
                <c:pt idx="90">
                  <c:v>994.74352885083397</c:v>
                </c:pt>
                <c:pt idx="91">
                  <c:v>1007.9017685704105</c:v>
                </c:pt>
                <c:pt idx="92">
                  <c:v>1020.8216041331283</c:v>
                </c:pt>
                <c:pt idx="93">
                  <c:v>1033.4985362680575</c:v>
                </c:pt>
                <c:pt idx="94">
                  <c:v>1045.9285984196431</c:v>
                </c:pt>
                <c:pt idx="95">
                  <c:v>1058.1083641953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5.15546128319789</c:v>
                </c:pt>
                <c:pt idx="43">
                  <c:v>287.65130843897714</c:v>
                </c:pt>
                <c:pt idx="44">
                  <c:v>300.46842247662687</c:v>
                </c:pt>
                <c:pt idx="45">
                  <c:v>313.55037102628199</c:v>
                </c:pt>
                <c:pt idx="46">
                  <c:v>327.15244653568175</c:v>
                </c:pt>
                <c:pt idx="47">
                  <c:v>341.15754934543338</c:v>
                </c:pt>
                <c:pt idx="48">
                  <c:v>355.64350282528801</c:v>
                </c:pt>
                <c:pt idx="49">
                  <c:v>370.49721695672372</c:v>
                </c:pt>
                <c:pt idx="50">
                  <c:v>385.67780630692107</c:v>
                </c:pt>
                <c:pt idx="51">
                  <c:v>401.2335338001941</c:v>
                </c:pt>
                <c:pt idx="52">
                  <c:v>417.16434703366491</c:v>
                </c:pt>
                <c:pt idx="53">
                  <c:v>433.51670739952544</c:v>
                </c:pt>
                <c:pt idx="54">
                  <c:v>450.22358235206025</c:v>
                </c:pt>
                <c:pt idx="55">
                  <c:v>467.28829643697276</c:v>
                </c:pt>
                <c:pt idx="56">
                  <c:v>484.70001140420572</c:v>
                </c:pt>
                <c:pt idx="57">
                  <c:v>502.46131260333954</c:v>
                </c:pt>
                <c:pt idx="58">
                  <c:v>520.54225674026475</c:v>
                </c:pt>
                <c:pt idx="59">
                  <c:v>538.9262507631156</c:v>
                </c:pt>
                <c:pt idx="60">
                  <c:v>557.60467589950576</c:v>
                </c:pt>
                <c:pt idx="61">
                  <c:v>576.6025206675165</c:v>
                </c:pt>
                <c:pt idx="62">
                  <c:v>595.88550277161369</c:v>
                </c:pt>
                <c:pt idx="63">
                  <c:v>615.43453669653638</c:v>
                </c:pt>
                <c:pt idx="64">
                  <c:v>635.23345140896686</c:v>
                </c:pt>
                <c:pt idx="65">
                  <c:v>655.26535157870194</c:v>
                </c:pt>
                <c:pt idx="66">
                  <c:v>675.51273635232883</c:v>
                </c:pt>
                <c:pt idx="67">
                  <c:v>695.95703811309897</c:v>
                </c:pt>
                <c:pt idx="68">
                  <c:v>716.57874544193396</c:v>
                </c:pt>
                <c:pt idx="69">
                  <c:v>737.35748677286188</c:v>
                </c:pt>
                <c:pt idx="70">
                  <c:v>758.27213433368524</c:v>
                </c:pt>
                <c:pt idx="71">
                  <c:v>779.30087973690274</c:v>
                </c:pt>
                <c:pt idx="72">
                  <c:v>800.42153554171159</c:v>
                </c:pt>
                <c:pt idx="73">
                  <c:v>821.61164435092701</c:v>
                </c:pt>
                <c:pt idx="74">
                  <c:v>842.8485086551799</c:v>
                </c:pt>
                <c:pt idx="75">
                  <c:v>864.10923535927714</c:v>
                </c:pt>
                <c:pt idx="76">
                  <c:v>885.37085566954488</c:v>
                </c:pt>
                <c:pt idx="77">
                  <c:v>906.61039695640841</c:v>
                </c:pt>
                <c:pt idx="78">
                  <c:v>927.8050078995152</c:v>
                </c:pt>
                <c:pt idx="79">
                  <c:v>948.93206805620616</c:v>
                </c:pt>
                <c:pt idx="80">
                  <c:v>969.96929656835641</c:v>
                </c:pt>
                <c:pt idx="81">
                  <c:v>990.89483440759341</c:v>
                </c:pt>
                <c:pt idx="82">
                  <c:v>1011.6873014480016</c:v>
                </c:pt>
                <c:pt idx="83">
                  <c:v>1032.3258796625319</c:v>
                </c:pt>
                <c:pt idx="84">
                  <c:v>1052.7903830441069</c:v>
                </c:pt>
                <c:pt idx="85">
                  <c:v>1073.0613258009064</c:v>
                </c:pt>
                <c:pt idx="86">
                  <c:v>1093.1199813401013</c:v>
                </c:pt>
                <c:pt idx="87">
                  <c:v>1112.9484472461263</c:v>
                </c:pt>
                <c:pt idx="88">
                  <c:v>1132.5297004584113</c:v>
                </c:pt>
                <c:pt idx="89">
                  <c:v>1151.8476361949702</c:v>
                </c:pt>
                <c:pt idx="90">
                  <c:v>1170.8870966969353</c:v>
                </c:pt>
                <c:pt idx="91">
                  <c:v>1189.6339059502993</c:v>
                </c:pt>
                <c:pt idx="92">
                  <c:v>1208.0748928096032</c:v>
                </c:pt>
                <c:pt idx="93">
                  <c:v>1226.1979091470635</c:v>
                </c:pt>
                <c:pt idx="94">
                  <c:v>1243.9918407280693</c:v>
                </c:pt>
                <c:pt idx="95">
                  <c:v>1261.4466173071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5.31675244234975</c:v>
                </c:pt>
                <c:pt idx="43">
                  <c:v>288.04982042236514</c:v>
                </c:pt>
                <c:pt idx="44">
                  <c:v>301.19375620628364</c:v>
                </c:pt>
                <c:pt idx="45">
                  <c:v>314.70594067158106</c:v>
                </c:pt>
                <c:pt idx="46">
                  <c:v>328.85515242752518</c:v>
                </c:pt>
                <c:pt idx="47">
                  <c:v>343.53832119069455</c:v>
                </c:pt>
                <c:pt idx="48">
                  <c:v>358.84647936492468</c:v>
                </c:pt>
                <c:pt idx="49">
                  <c:v>374.67934048271604</c:v>
                </c:pt>
                <c:pt idx="50">
                  <c:v>391.00802021105972</c:v>
                </c:pt>
                <c:pt idx="51">
                  <c:v>407.89167134400816</c:v>
                </c:pt>
                <c:pt idx="52">
                  <c:v>425.34052667231902</c:v>
                </c:pt>
                <c:pt idx="53">
                  <c:v>443.41045877763128</c:v>
                </c:pt>
                <c:pt idx="54">
                  <c:v>462.04362652875227</c:v>
                </c:pt>
                <c:pt idx="55">
                  <c:v>481.2511844580057</c:v>
                </c:pt>
                <c:pt idx="56">
                  <c:v>501.02908059644744</c:v>
                </c:pt>
                <c:pt idx="57">
                  <c:v>521.38568022678646</c:v>
                </c:pt>
                <c:pt idx="58">
                  <c:v>542.29590994643445</c:v>
                </c:pt>
                <c:pt idx="59">
                  <c:v>563.74697758612831</c:v>
                </c:pt>
                <c:pt idx="60">
                  <c:v>585.73290473495695</c:v>
                </c:pt>
                <c:pt idx="61">
                  <c:v>608.2801301523898</c:v>
                </c:pt>
                <c:pt idx="62">
                  <c:v>631.35484679936144</c:v>
                </c:pt>
                <c:pt idx="63">
                  <c:v>654.93704554083649</c:v>
                </c:pt>
                <c:pt idx="64">
                  <c:v>679.00826231815893</c:v>
                </c:pt>
                <c:pt idx="65">
                  <c:v>703.54811109105208</c:v>
                </c:pt>
                <c:pt idx="66">
                  <c:v>728.53442667882632</c:v>
                </c:pt>
                <c:pt idx="67">
                  <c:v>753.94264282038853</c:v>
                </c:pt>
                <c:pt idx="68">
                  <c:v>779.74595638875655</c:v>
                </c:pt>
                <c:pt idx="69">
                  <c:v>805.91544025479163</c:v>
                </c:pt>
                <c:pt idx="70">
                  <c:v>832.42019595986301</c:v>
                </c:pt>
                <c:pt idx="71">
                  <c:v>859.22747507097483</c:v>
                </c:pt>
                <c:pt idx="72">
                  <c:v>886.30312108436806</c:v>
                </c:pt>
                <c:pt idx="73">
                  <c:v>913.61175778171264</c:v>
                </c:pt>
                <c:pt idx="74">
                  <c:v>941.11688172658683</c:v>
                </c:pt>
                <c:pt idx="75">
                  <c:v>968.78098576353329</c:v>
                </c:pt>
                <c:pt idx="76">
                  <c:v>996.56579072373427</c:v>
                </c:pt>
                <c:pt idx="77">
                  <c:v>1024.4324186503432</c:v>
                </c:pt>
                <c:pt idx="78">
                  <c:v>1052.3416429457395</c:v>
                </c:pt>
                <c:pt idx="79">
                  <c:v>1080.2541215404322</c:v>
                </c:pt>
                <c:pt idx="80">
                  <c:v>1108.1306329441722</c:v>
                </c:pt>
                <c:pt idx="81">
                  <c:v>1135.9322779607185</c:v>
                </c:pt>
                <c:pt idx="82">
                  <c:v>1163.6206483621577</c:v>
                </c:pt>
                <c:pt idx="83">
                  <c:v>1191.1580297832313</c:v>
                </c:pt>
                <c:pt idx="84">
                  <c:v>1218.5075842466522</c:v>
                </c:pt>
                <c:pt idx="85">
                  <c:v>1245.6335274779767</c:v>
                </c:pt>
                <c:pt idx="86">
                  <c:v>1272.5012893258979</c:v>
                </c:pt>
                <c:pt idx="87">
                  <c:v>1299.07767716578</c:v>
                </c:pt>
                <c:pt idx="88">
                  <c:v>1325.3310198384406</c:v>
                </c:pt>
                <c:pt idx="89">
                  <c:v>1351.2312832303867</c:v>
                </c:pt>
                <c:pt idx="90">
                  <c:v>1376.7501649884382</c:v>
                </c:pt>
                <c:pt idx="91">
                  <c:v>1401.8611895964134</c:v>
                </c:pt>
                <c:pt idx="92">
                  <c:v>1426.5397799701777</c:v>
                </c:pt>
                <c:pt idx="93">
                  <c:v>1450.7633144153667</c:v>
                </c:pt>
                <c:pt idx="94">
                  <c:v>1474.5111658537096</c:v>
                </c:pt>
                <c:pt idx="95">
                  <c:v>1497.76473231651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2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18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5</c:v>
                </c:pt>
                <c:pt idx="14">
                  <c:v>25</c:v>
                </c:pt>
                <c:pt idx="15">
                  <c:v>29</c:v>
                </c:pt>
                <c:pt idx="16">
                  <c:v>31</c:v>
                </c:pt>
                <c:pt idx="17">
                  <c:v>32</c:v>
                </c:pt>
                <c:pt idx="18">
                  <c:v>33</c:v>
                </c:pt>
                <c:pt idx="19">
                  <c:v>35</c:v>
                </c:pt>
                <c:pt idx="20">
                  <c:v>37</c:v>
                </c:pt>
                <c:pt idx="21">
                  <c:v>40</c:v>
                </c:pt>
                <c:pt idx="22">
                  <c:v>41</c:v>
                </c:pt>
                <c:pt idx="23">
                  <c:v>45</c:v>
                </c:pt>
                <c:pt idx="24">
                  <c:v>46</c:v>
                </c:pt>
                <c:pt idx="25">
                  <c:v>48</c:v>
                </c:pt>
                <c:pt idx="26">
                  <c:v>55</c:v>
                </c:pt>
                <c:pt idx="27">
                  <c:v>59</c:v>
                </c:pt>
                <c:pt idx="28">
                  <c:v>63</c:v>
                </c:pt>
                <c:pt idx="29">
                  <c:v>66</c:v>
                </c:pt>
                <c:pt idx="30">
                  <c:v>67</c:v>
                </c:pt>
                <c:pt idx="31">
                  <c:v>74</c:v>
                </c:pt>
                <c:pt idx="32">
                  <c:v>81</c:v>
                </c:pt>
                <c:pt idx="33">
                  <c:v>86</c:v>
                </c:pt>
                <c:pt idx="34">
                  <c:v>93</c:v>
                </c:pt>
                <c:pt idx="35">
                  <c:v>98</c:v>
                </c:pt>
                <c:pt idx="36">
                  <c:v>103</c:v>
                </c:pt>
                <c:pt idx="37">
                  <c:v>107</c:v>
                </c:pt>
                <c:pt idx="38">
                  <c:v>112</c:v>
                </c:pt>
                <c:pt idx="39">
                  <c:v>116</c:v>
                </c:pt>
                <c:pt idx="40">
                  <c:v>118</c:v>
                </c:pt>
                <c:pt idx="41">
                  <c:v>122</c:v>
                </c:pt>
                <c:pt idx="42">
                  <c:v>132</c:v>
                </c:pt>
                <c:pt idx="43">
                  <c:v>138</c:v>
                </c:pt>
                <c:pt idx="44">
                  <c:v>145</c:v>
                </c:pt>
                <c:pt idx="45">
                  <c:v>151</c:v>
                </c:pt>
                <c:pt idx="46">
                  <c:v>159</c:v>
                </c:pt>
                <c:pt idx="47">
                  <c:v>168</c:v>
                </c:pt>
                <c:pt idx="48">
                  <c:v>172</c:v>
                </c:pt>
                <c:pt idx="49">
                  <c:v>178</c:v>
                </c:pt>
                <c:pt idx="50">
                  <c:v>188</c:v>
                </c:pt>
                <c:pt idx="51">
                  <c:v>193</c:v>
                </c:pt>
                <c:pt idx="52">
                  <c:v>198</c:v>
                </c:pt>
                <c:pt idx="53">
                  <c:v>205</c:v>
                </c:pt>
                <c:pt idx="54">
                  <c:v>217</c:v>
                </c:pt>
                <c:pt idx="55">
                  <c:v>229</c:v>
                </c:pt>
                <c:pt idx="56">
                  <c:v>246</c:v>
                </c:pt>
                <c:pt idx="57">
                  <c:v>253</c:v>
                </c:pt>
                <c:pt idx="58">
                  <c:v>258</c:v>
                </c:pt>
                <c:pt idx="59">
                  <c:v>266</c:v>
                </c:pt>
                <c:pt idx="60">
                  <c:v>271</c:v>
                </c:pt>
                <c:pt idx="61">
                  <c:v>279</c:v>
                </c:pt>
                <c:pt idx="62">
                  <c:v>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7.07393440217939</c:v>
                </c:pt>
                <c:pt idx="43">
                  <c:v>132.26011768925028</c:v>
                </c:pt>
                <c:pt idx="44">
                  <c:v>137.54523696004415</c:v>
                </c:pt>
                <c:pt idx="45">
                  <c:v>142.90022502572654</c:v>
                </c:pt>
                <c:pt idx="46">
                  <c:v>148.4279711906745</c:v>
                </c:pt>
                <c:pt idx="47">
                  <c:v>154.07399544953495</c:v>
                </c:pt>
                <c:pt idx="48">
                  <c:v>159.86686013279018</c:v>
                </c:pt>
                <c:pt idx="49">
                  <c:v>165.75424321478107</c:v>
                </c:pt>
                <c:pt idx="50">
                  <c:v>171.71482420573187</c:v>
                </c:pt>
                <c:pt idx="51">
                  <c:v>177.76588348194267</c:v>
                </c:pt>
                <c:pt idx="52">
                  <c:v>183.90452327124643</c:v>
                </c:pt>
                <c:pt idx="53">
                  <c:v>190.14749629530627</c:v>
                </c:pt>
                <c:pt idx="54">
                  <c:v>196.46387748410734</c:v>
                </c:pt>
                <c:pt idx="55">
                  <c:v>202.85327953510424</c:v>
                </c:pt>
                <c:pt idx="56">
                  <c:v>209.30965418491354</c:v>
                </c:pt>
                <c:pt idx="57">
                  <c:v>215.83297774463369</c:v>
                </c:pt>
                <c:pt idx="58">
                  <c:v>222.40969027215124</c:v>
                </c:pt>
                <c:pt idx="59">
                  <c:v>229.03237727907265</c:v>
                </c:pt>
                <c:pt idx="60">
                  <c:v>235.69730148195634</c:v>
                </c:pt>
                <c:pt idx="61">
                  <c:v>242.41521615079313</c:v>
                </c:pt>
                <c:pt idx="62">
                  <c:v>249.17220898466394</c:v>
                </c:pt>
                <c:pt idx="63">
                  <c:v>255.96116924252914</c:v>
                </c:pt>
                <c:pt idx="64">
                  <c:v>262.77659643936113</c:v>
                </c:pt>
                <c:pt idx="65">
                  <c:v>269.61299805846818</c:v>
                </c:pt>
                <c:pt idx="66">
                  <c:v>276.46491958608362</c:v>
                </c:pt>
                <c:pt idx="67">
                  <c:v>283.32679556425575</c:v>
                </c:pt>
                <c:pt idx="68">
                  <c:v>290.19298069710146</c:v>
                </c:pt>
                <c:pt idx="69">
                  <c:v>297.05777066730275</c:v>
                </c:pt>
                <c:pt idx="70">
                  <c:v>303.91542726731973</c:v>
                </c:pt>
                <c:pt idx="71">
                  <c:v>310.7601948714522</c:v>
                </c:pt>
                <c:pt idx="72">
                  <c:v>317.58638214797372</c:v>
                </c:pt>
                <c:pt idx="73">
                  <c:v>324.38838560535805</c:v>
                </c:pt>
                <c:pt idx="74">
                  <c:v>331.1606875840211</c:v>
                </c:pt>
                <c:pt idx="75">
                  <c:v>337.89785695994789</c:v>
                </c:pt>
                <c:pt idx="76">
                  <c:v>344.59457217120416</c:v>
                </c:pt>
                <c:pt idx="77">
                  <c:v>351.24562914069941</c:v>
                </c:pt>
                <c:pt idx="78">
                  <c:v>357.84596500438886</c:v>
                </c:pt>
                <c:pt idx="79">
                  <c:v>364.39067675998683</c:v>
                </c:pt>
                <c:pt idx="80">
                  <c:v>370.87503910267606</c:v>
                </c:pt>
                <c:pt idx="81">
                  <c:v>377.29451428337131</c:v>
                </c:pt>
                <c:pt idx="82">
                  <c:v>383.64475433366994</c:v>
                </c:pt>
                <c:pt idx="83">
                  <c:v>389.92161142384884</c:v>
                </c:pt>
                <c:pt idx="84">
                  <c:v>396.12114465984365</c:v>
                </c:pt>
                <c:pt idx="85">
                  <c:v>402.2396267393882</c:v>
                </c:pt>
                <c:pt idx="86">
                  <c:v>408.27354849254908</c:v>
                </c:pt>
                <c:pt idx="87">
                  <c:v>414.21962586437689</c:v>
                </c:pt>
                <c:pt idx="88">
                  <c:v>420.07480479934424</c:v>
                </c:pt>
                <c:pt idx="89">
                  <c:v>425.83626202000318</c:v>
                </c:pt>
                <c:pt idx="90">
                  <c:v>431.50140362717889</c:v>
                </c:pt>
                <c:pt idx="91">
                  <c:v>437.06786649507922</c:v>
                </c:pt>
                <c:pt idx="92">
                  <c:v>442.53351716445422</c:v>
                </c:pt>
                <c:pt idx="93">
                  <c:v>447.89645025823125</c:v>
                </c:pt>
                <c:pt idx="94">
                  <c:v>453.15498573587377</c:v>
                </c:pt>
                <c:pt idx="95">
                  <c:v>458.3076720136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7.14169347754182</c:v>
                </c:pt>
                <c:pt idx="43">
                  <c:v>132.42706470900879</c:v>
                </c:pt>
                <c:pt idx="44">
                  <c:v>137.84809691712289</c:v>
                </c:pt>
                <c:pt idx="45">
                  <c:v>143.38094677802883</c:v>
                </c:pt>
                <c:pt idx="46">
                  <c:v>149.13346317927449</c:v>
                </c:pt>
                <c:pt idx="47">
                  <c:v>155.056234822943</c:v>
                </c:pt>
                <c:pt idx="48">
                  <c:v>161.18243587474902</c:v>
                </c:pt>
                <c:pt idx="49">
                  <c:v>167.46407984480538</c:v>
                </c:pt>
                <c:pt idx="50">
                  <c:v>173.8837502309602</c:v>
                </c:pt>
                <c:pt idx="51">
                  <c:v>180.46208193322275</c:v>
                </c:pt>
                <c:pt idx="52">
                  <c:v>187.19921440791674</c:v>
                </c:pt>
                <c:pt idx="53">
                  <c:v>194.11453063310586</c:v>
                </c:pt>
                <c:pt idx="54">
                  <c:v>201.17962357000476</c:v>
                </c:pt>
                <c:pt idx="55">
                  <c:v>208.39605388218288</c:v>
                </c:pt>
                <c:pt idx="56">
                  <c:v>215.75930024739137</c:v>
                </c:pt>
                <c:pt idx="57">
                  <c:v>223.27048808595401</c:v>
                </c:pt>
                <c:pt idx="58">
                  <c:v>230.91688724821088</c:v>
                </c:pt>
                <c:pt idx="59">
                  <c:v>238.69154843271949</c:v>
                </c:pt>
                <c:pt idx="60">
                  <c:v>246.59082495217092</c:v>
                </c:pt>
                <c:pt idx="61">
                  <c:v>254.62519452388679</c:v>
                </c:pt>
                <c:pt idx="62">
                  <c:v>262.78021491244328</c:v>
                </c:pt>
                <c:pt idx="63">
                  <c:v>271.04782905083624</c:v>
                </c:pt>
                <c:pt idx="64">
                  <c:v>279.42120195480481</c:v>
                </c:pt>
                <c:pt idx="65">
                  <c:v>287.89319210843365</c:v>
                </c:pt>
                <c:pt idx="66">
                  <c:v>296.45640156781246</c:v>
                </c:pt>
                <c:pt idx="67">
                  <c:v>305.10298090845134</c:v>
                </c:pt>
                <c:pt idx="68">
                  <c:v>313.82468106380549</c:v>
                </c:pt>
                <c:pt idx="69">
                  <c:v>322.61288876926346</c:v>
                </c:pt>
                <c:pt idx="70">
                  <c:v>331.45867057169596</c:v>
                </c:pt>
                <c:pt idx="71">
                  <c:v>340.35280489132145</c:v>
                </c:pt>
                <c:pt idx="72">
                  <c:v>349.28590943006225</c:v>
                </c:pt>
                <c:pt idx="73">
                  <c:v>358.24848728667297</c:v>
                </c:pt>
                <c:pt idx="74">
                  <c:v>367.2309395601016</c:v>
                </c:pt>
                <c:pt idx="75">
                  <c:v>376.22358422315489</c:v>
                </c:pt>
                <c:pt idx="76">
                  <c:v>385.216706772007</c:v>
                </c:pt>
                <c:pt idx="77">
                  <c:v>394.20059062408171</c:v>
                </c:pt>
                <c:pt idx="78">
                  <c:v>403.16557008977384</c:v>
                </c:pt>
                <c:pt idx="79">
                  <c:v>412.10207674534507</c:v>
                </c:pt>
                <c:pt idx="80">
                  <c:v>421.00068537319333</c:v>
                </c:pt>
                <c:pt idx="81">
                  <c:v>429.85214873594583</c:v>
                </c:pt>
                <c:pt idx="82">
                  <c:v>438.64742179849316</c:v>
                </c:pt>
                <c:pt idx="83">
                  <c:v>447.37769693273015</c:v>
                </c:pt>
                <c:pt idx="84">
                  <c:v>456.03443350032092</c:v>
                </c:pt>
                <c:pt idx="85">
                  <c:v>464.60938671493108</c:v>
                </c:pt>
                <c:pt idx="86">
                  <c:v>473.09463262455108</c:v>
                </c:pt>
                <c:pt idx="87">
                  <c:v>481.4825956046223</c:v>
                </c:pt>
                <c:pt idx="88">
                  <c:v>489.76607170127363</c:v>
                </c:pt>
                <c:pt idx="89">
                  <c:v>497.93824513670353</c:v>
                </c:pt>
                <c:pt idx="90">
                  <c:v>505.99270051934883</c:v>
                </c:pt>
                <c:pt idx="91">
                  <c:v>513.92343754993385</c:v>
                </c:pt>
                <c:pt idx="92">
                  <c:v>521.72488083044891</c:v>
                </c:pt>
                <c:pt idx="93">
                  <c:v>529.39188756674412</c:v>
                </c:pt>
                <c:pt idx="94">
                  <c:v>536.91975219855851</c:v>
                </c:pt>
                <c:pt idx="95">
                  <c:v>544.30421068700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27.20983705766861</c:v>
                </c:pt>
                <c:pt idx="43">
                  <c:v>132.59543392647578</c:v>
                </c:pt>
                <c:pt idx="44">
                  <c:v>138.15455315906769</c:v>
                </c:pt>
                <c:pt idx="45">
                  <c:v>143.86919122267292</c:v>
                </c:pt>
                <c:pt idx="46">
                  <c:v>149.85289875251806</c:v>
                </c:pt>
                <c:pt idx="47">
                  <c:v>156.06219610693785</c:v>
                </c:pt>
                <c:pt idx="48">
                  <c:v>162.53584431375435</c:v>
                </c:pt>
                <c:pt idx="49">
                  <c:v>169.2312732469517</c:v>
                </c:pt>
                <c:pt idx="50">
                  <c:v>176.13614336731354</c:v>
                </c:pt>
                <c:pt idx="51">
                  <c:v>183.27569676307922</c:v>
                </c:pt>
                <c:pt idx="52">
                  <c:v>190.65442530299913</c:v>
                </c:pt>
                <c:pt idx="53">
                  <c:v>198.29569617122013</c:v>
                </c:pt>
                <c:pt idx="54">
                  <c:v>206.17499242153451</c:v>
                </c:pt>
                <c:pt idx="55">
                  <c:v>214.29718973810685</c:v>
                </c:pt>
                <c:pt idx="56">
                  <c:v>222.66064128067291</c:v>
                </c:pt>
                <c:pt idx="57">
                  <c:v>231.26892190557919</c:v>
                </c:pt>
                <c:pt idx="58">
                  <c:v>240.11136631321426</c:v>
                </c:pt>
                <c:pt idx="59">
                  <c:v>249.18263791823472</c:v>
                </c:pt>
                <c:pt idx="60">
                  <c:v>258.48021201967185</c:v>
                </c:pt>
                <c:pt idx="61">
                  <c:v>268.01518505427271</c:v>
                </c:pt>
                <c:pt idx="62">
                  <c:v>277.77332052988885</c:v>
                </c:pt>
                <c:pt idx="63">
                  <c:v>287.74617589414208</c:v>
                </c:pt>
                <c:pt idx="64">
                  <c:v>297.92595175543499</c:v>
                </c:pt>
                <c:pt idx="65">
                  <c:v>308.3040356691389</c:v>
                </c:pt>
                <c:pt idx="66">
                  <c:v>318.87106232775272</c:v>
                </c:pt>
                <c:pt idx="67">
                  <c:v>329.61665052394812</c:v>
                </c:pt>
                <c:pt idx="68">
                  <c:v>340.52947233582779</c:v>
                </c:pt>
                <c:pt idx="69">
                  <c:v>351.59730090439336</c:v>
                </c:pt>
                <c:pt idx="70">
                  <c:v>362.80707502839306</c:v>
                </c:pt>
                <c:pt idx="71">
                  <c:v>374.14495057831118</c:v>
                </c:pt>
                <c:pt idx="72">
                  <c:v>385.59648716617227</c:v>
                </c:pt>
                <c:pt idx="73">
                  <c:v>397.14672773672083</c:v>
                </c:pt>
                <c:pt idx="74">
                  <c:v>408.78023762765542</c:v>
                </c:pt>
                <c:pt idx="75">
                  <c:v>420.48115682215564</c:v>
                </c:pt>
                <c:pt idx="76">
                  <c:v>432.23329784108182</c:v>
                </c:pt>
                <c:pt idx="77">
                  <c:v>444.02021898741589</c:v>
                </c:pt>
                <c:pt idx="78">
                  <c:v>455.82533017956717</c:v>
                </c:pt>
                <c:pt idx="79">
                  <c:v>467.63199159457918</c:v>
                </c:pt>
                <c:pt idx="80">
                  <c:v>479.42361344248974</c:v>
                </c:pt>
                <c:pt idx="81">
                  <c:v>491.18374126085433</c:v>
                </c:pt>
                <c:pt idx="82">
                  <c:v>502.89612736511253</c:v>
                </c:pt>
                <c:pt idx="83">
                  <c:v>514.54481668818016</c:v>
                </c:pt>
                <c:pt idx="84">
                  <c:v>526.11422400267747</c:v>
                </c:pt>
                <c:pt idx="85">
                  <c:v>537.58920895696633</c:v>
                </c:pt>
                <c:pt idx="86">
                  <c:v>548.95514399246576</c:v>
                </c:pt>
                <c:pt idx="87">
                  <c:v>560.19798349266739</c:v>
                </c:pt>
                <c:pt idx="88">
                  <c:v>571.30432469758421</c:v>
                </c:pt>
                <c:pt idx="89">
                  <c:v>582.26145667616504</c:v>
                </c:pt>
                <c:pt idx="90">
                  <c:v>593.05740048949042</c:v>
                </c:pt>
                <c:pt idx="91">
                  <c:v>603.68094946591975</c:v>
                </c:pt>
                <c:pt idx="92">
                  <c:v>614.12169955719617</c:v>
                </c:pt>
                <c:pt idx="93">
                  <c:v>624.37007350105091</c:v>
                </c:pt>
                <c:pt idx="94">
                  <c:v>634.41733748948923</c:v>
                </c:pt>
                <c:pt idx="95">
                  <c:v>644.25561412546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</c:v>
                </c:pt>
                <c:pt idx="1">
                  <c:v>9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4</c:v>
                </c:pt>
                <c:pt idx="10">
                  <c:v>17</c:v>
                </c:pt>
                <c:pt idx="11">
                  <c:v>18</c:v>
                </c:pt>
                <c:pt idx="12">
                  <c:v>18</c:v>
                </c:pt>
                <c:pt idx="13">
                  <c:v>19</c:v>
                </c:pt>
                <c:pt idx="14">
                  <c:v>21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5</c:v>
                </c:pt>
                <c:pt idx="19">
                  <c:v>29</c:v>
                </c:pt>
                <c:pt idx="20">
                  <c:v>31</c:v>
                </c:pt>
                <c:pt idx="21">
                  <c:v>36</c:v>
                </c:pt>
                <c:pt idx="22">
                  <c:v>39</c:v>
                </c:pt>
                <c:pt idx="23">
                  <c:v>40</c:v>
                </c:pt>
                <c:pt idx="24">
                  <c:v>43</c:v>
                </c:pt>
                <c:pt idx="25">
                  <c:v>44</c:v>
                </c:pt>
                <c:pt idx="26">
                  <c:v>46</c:v>
                </c:pt>
                <c:pt idx="27">
                  <c:v>48</c:v>
                </c:pt>
                <c:pt idx="28">
                  <c:v>48</c:v>
                </c:pt>
                <c:pt idx="29">
                  <c:v>48</c:v>
                </c:pt>
                <c:pt idx="30">
                  <c:v>53</c:v>
                </c:pt>
                <c:pt idx="31">
                  <c:v>55</c:v>
                </c:pt>
                <c:pt idx="32">
                  <c:v>58</c:v>
                </c:pt>
                <c:pt idx="33">
                  <c:v>61</c:v>
                </c:pt>
                <c:pt idx="34">
                  <c:v>62</c:v>
                </c:pt>
                <c:pt idx="35">
                  <c:v>70</c:v>
                </c:pt>
                <c:pt idx="36">
                  <c:v>73</c:v>
                </c:pt>
                <c:pt idx="37">
                  <c:v>78</c:v>
                </c:pt>
                <c:pt idx="38">
                  <c:v>83</c:v>
                </c:pt>
                <c:pt idx="39">
                  <c:v>91</c:v>
                </c:pt>
                <c:pt idx="40">
                  <c:v>97</c:v>
                </c:pt>
                <c:pt idx="41">
                  <c:v>101</c:v>
                </c:pt>
                <c:pt idx="42">
                  <c:v>105</c:v>
                </c:pt>
                <c:pt idx="43">
                  <c:v>110</c:v>
                </c:pt>
                <c:pt idx="44">
                  <c:v>117</c:v>
                </c:pt>
                <c:pt idx="45">
                  <c:v>126</c:v>
                </c:pt>
                <c:pt idx="46">
                  <c:v>135</c:v>
                </c:pt>
                <c:pt idx="47">
                  <c:v>137</c:v>
                </c:pt>
                <c:pt idx="48">
                  <c:v>149</c:v>
                </c:pt>
                <c:pt idx="49">
                  <c:v>154</c:v>
                </c:pt>
                <c:pt idx="50">
                  <c:v>156</c:v>
                </c:pt>
                <c:pt idx="51">
                  <c:v>166</c:v>
                </c:pt>
                <c:pt idx="52">
                  <c:v>177</c:v>
                </c:pt>
                <c:pt idx="53">
                  <c:v>183</c:v>
                </c:pt>
                <c:pt idx="54">
                  <c:v>193</c:v>
                </c:pt>
                <c:pt idx="55">
                  <c:v>199</c:v>
                </c:pt>
                <c:pt idx="56">
                  <c:v>208</c:v>
                </c:pt>
                <c:pt idx="57">
                  <c:v>215</c:v>
                </c:pt>
                <c:pt idx="58">
                  <c:v>218</c:v>
                </c:pt>
                <c:pt idx="59">
                  <c:v>230</c:v>
                </c:pt>
                <c:pt idx="60">
                  <c:v>237</c:v>
                </c:pt>
                <c:pt idx="61">
                  <c:v>242</c:v>
                </c:pt>
                <c:pt idx="62">
                  <c:v>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5.85077652881988</c:v>
                </c:pt>
                <c:pt idx="43">
                  <c:v>110.81998037371901</c:v>
                </c:pt>
                <c:pt idx="44">
                  <c:v>115.89185682569467</c:v>
                </c:pt>
                <c:pt idx="45">
                  <c:v>121.03737610685316</c:v>
                </c:pt>
                <c:pt idx="46">
                  <c:v>126.36057434139499</c:v>
                </c:pt>
                <c:pt idx="47">
                  <c:v>131.80427048698525</c:v>
                </c:pt>
                <c:pt idx="48">
                  <c:v>137.38530739831549</c:v>
                </c:pt>
                <c:pt idx="49">
                  <c:v>143.05985131736799</c:v>
                </c:pt>
                <c:pt idx="50">
                  <c:v>148.81258144690804</c:v>
                </c:pt>
                <c:pt idx="51">
                  <c:v>154.6510490102728</c:v>
                </c:pt>
                <c:pt idx="52">
                  <c:v>160.56593526398029</c:v>
                </c:pt>
                <c:pt idx="53">
                  <c:v>166.58451627260069</c:v>
                </c:pt>
                <c:pt idx="54">
                  <c:v>172.67946987675143</c:v>
                </c:pt>
                <c:pt idx="55">
                  <c:v>178.84420325008594</c:v>
                </c:pt>
                <c:pt idx="56">
                  <c:v>185.07048812164891</c:v>
                </c:pt>
                <c:pt idx="57">
                  <c:v>191.35716676643312</c:v>
                </c:pt>
                <c:pt idx="58">
                  <c:v>197.69408966507422</c:v>
                </c:pt>
                <c:pt idx="59">
                  <c:v>204.07148121451775</c:v>
                </c:pt>
                <c:pt idx="60">
                  <c:v>210.48597772202186</c:v>
                </c:pt>
                <c:pt idx="61">
                  <c:v>216.95182839203039</c:v>
                </c:pt>
                <c:pt idx="62">
                  <c:v>223.45343544315404</c:v>
                </c:pt>
                <c:pt idx="63">
                  <c:v>229.9834872612395</c:v>
                </c:pt>
                <c:pt idx="64">
                  <c:v>236.53666004576365</c:v>
                </c:pt>
                <c:pt idx="65">
                  <c:v>243.10764256956921</c:v>
                </c:pt>
                <c:pt idx="66">
                  <c:v>249.69116771667058</c:v>
                </c:pt>
                <c:pt idx="67">
                  <c:v>256.28186824336728</c:v>
                </c:pt>
                <c:pt idx="68">
                  <c:v>262.87431098366915</c:v>
                </c:pt>
                <c:pt idx="69">
                  <c:v>269.46301452180177</c:v>
                </c:pt>
                <c:pt idx="70">
                  <c:v>276.04247145772285</c:v>
                </c:pt>
                <c:pt idx="71">
                  <c:v>282.60716134453514</c:v>
                </c:pt>
                <c:pt idx="72">
                  <c:v>289.15163258752409</c:v>
                </c:pt>
                <c:pt idx="73">
                  <c:v>295.67052557631905</c:v>
                </c:pt>
                <c:pt idx="74">
                  <c:v>302.15857105439733</c:v>
                </c:pt>
                <c:pt idx="75">
                  <c:v>308.61058919425204</c:v>
                </c:pt>
                <c:pt idx="76">
                  <c:v>315.0215131267845</c:v>
                </c:pt>
                <c:pt idx="77">
                  <c:v>321.38639624968187</c:v>
                </c:pt>
                <c:pt idx="78">
                  <c:v>327.70043362799612</c:v>
                </c:pt>
                <c:pt idx="79">
                  <c:v>333.95897887273713</c:v>
                </c:pt>
                <c:pt idx="80">
                  <c:v>340.1575622831067</c:v>
                </c:pt>
                <c:pt idx="81">
                  <c:v>346.29190069662377</c:v>
                </c:pt>
                <c:pt idx="82">
                  <c:v>352.35789718461473</c:v>
                </c:pt>
                <c:pt idx="83">
                  <c:v>358.35165056655575</c:v>
                </c:pt>
                <c:pt idx="84">
                  <c:v>364.26946183340249</c:v>
                </c:pt>
                <c:pt idx="85">
                  <c:v>370.10784020380015</c:v>
                </c:pt>
                <c:pt idx="86">
                  <c:v>375.86350673675355</c:v>
                </c:pt>
                <c:pt idx="87">
                  <c:v>381.53340101886306</c:v>
                </c:pt>
                <c:pt idx="88">
                  <c:v>387.11468604218277</c:v>
                </c:pt>
                <c:pt idx="89">
                  <c:v>392.60474806669515</c:v>
                </c:pt>
                <c:pt idx="90">
                  <c:v>398.00119411647336</c:v>
                </c:pt>
                <c:pt idx="91">
                  <c:v>403.30185314293391</c:v>
                </c:pt>
                <c:pt idx="92">
                  <c:v>408.50477455555597</c:v>
                </c:pt>
                <c:pt idx="93">
                  <c:v>413.60822637465174</c:v>
                </c:pt>
                <c:pt idx="94">
                  <c:v>418.61069215973157</c:v>
                </c:pt>
                <c:pt idx="95">
                  <c:v>423.51087522962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5.91893969661203</c:v>
                </c:pt>
                <c:pt idx="43">
                  <c:v>110.98781263575219</c:v>
                </c:pt>
                <c:pt idx="44">
                  <c:v>116.19605337006116</c:v>
                </c:pt>
                <c:pt idx="45">
                  <c:v>121.51973101531095</c:v>
                </c:pt>
                <c:pt idx="46">
                  <c:v>127.06771198043919</c:v>
                </c:pt>
                <c:pt idx="47">
                  <c:v>132.78774287019158</c:v>
                </c:pt>
                <c:pt idx="48">
                  <c:v>138.70106590930197</c:v>
                </c:pt>
                <c:pt idx="49">
                  <c:v>144.76794079826112</c:v>
                </c:pt>
                <c:pt idx="50">
                  <c:v>150.97672828138178</c:v>
                </c:pt>
                <c:pt idx="51">
                  <c:v>157.33812805044525</c:v>
                </c:pt>
                <c:pt idx="52">
                  <c:v>163.84562981308039</c:v>
                </c:pt>
                <c:pt idx="53">
                  <c:v>170.52887290201494</c:v>
                </c:pt>
                <c:pt idx="54">
                  <c:v>177.36284477345504</c:v>
                </c:pt>
                <c:pt idx="55">
                  <c:v>184.34269170244096</c:v>
                </c:pt>
                <c:pt idx="56">
                  <c:v>191.46149040167251</c:v>
                </c:pt>
                <c:pt idx="57">
                  <c:v>198.71900905330099</c:v>
                </c:pt>
                <c:pt idx="58">
                  <c:v>206.10571217126571</c:v>
                </c:pt>
                <c:pt idx="59">
                  <c:v>213.61209592253851</c:v>
                </c:pt>
                <c:pt idx="60">
                  <c:v>221.23471245866492</c:v>
                </c:pt>
                <c:pt idx="61">
                  <c:v>228.98737922579647</c:v>
                </c:pt>
                <c:pt idx="62">
                  <c:v>236.85385490478797</c:v>
                </c:pt>
                <c:pt idx="63">
                  <c:v>244.82577373000822</c:v>
                </c:pt>
                <c:pt idx="64">
                  <c:v>252.8963800276253</c:v>
                </c:pt>
                <c:pt idx="65">
                  <c:v>261.05863136861569</c:v>
                </c:pt>
                <c:pt idx="66">
                  <c:v>269.30525213144853</c:v>
                </c:pt>
                <c:pt idx="67">
                  <c:v>277.62854486667322</c:v>
                </c:pt>
                <c:pt idx="68">
                  <c:v>286.02044701362513</c:v>
                </c:pt>
                <c:pt idx="69">
                  <c:v>294.47256241661239</c:v>
                </c:pt>
                <c:pt idx="70">
                  <c:v>302.97620165136038</c:v>
                </c:pt>
                <c:pt idx="71">
                  <c:v>311.52240910846342</c:v>
                </c:pt>
                <c:pt idx="72">
                  <c:v>320.10209107746346</c:v>
                </c:pt>
                <c:pt idx="73">
                  <c:v>328.70606119064985</c:v>
                </c:pt>
                <c:pt idx="74">
                  <c:v>337.32505332598697</c:v>
                </c:pt>
                <c:pt idx="75">
                  <c:v>345.94973804933466</c:v>
                </c:pt>
                <c:pt idx="76">
                  <c:v>354.57077362565485</c:v>
                </c:pt>
                <c:pt idx="77">
                  <c:v>363.17883508333045</c:v>
                </c:pt>
                <c:pt idx="78">
                  <c:v>371.76466341031124</c:v>
                </c:pt>
                <c:pt idx="79">
                  <c:v>380.31910884786686</c:v>
                </c:pt>
                <c:pt idx="80">
                  <c:v>388.83317657232533</c:v>
                </c:pt>
                <c:pt idx="81">
                  <c:v>397.29806058677718</c:v>
                </c:pt>
                <c:pt idx="82">
                  <c:v>405.70516358085314</c:v>
                </c:pt>
                <c:pt idx="83">
                  <c:v>414.04613007114233</c:v>
                </c:pt>
                <c:pt idx="84">
                  <c:v>422.31287443430654</c:v>
                </c:pt>
                <c:pt idx="85">
                  <c:v>430.49760786118105</c:v>
                </c:pt>
                <c:pt idx="86">
                  <c:v>438.59286091971649</c:v>
                </c:pt>
                <c:pt idx="87">
                  <c:v>446.59150954162232</c:v>
                </c:pt>
                <c:pt idx="88">
                  <c:v>454.48679721620761</c:v>
                </c:pt>
                <c:pt idx="89">
                  <c:v>462.27234909877535</c:v>
                </c:pt>
                <c:pt idx="90">
                  <c:v>469.94218157938553</c:v>
                </c:pt>
                <c:pt idx="91">
                  <c:v>477.49071557317421</c:v>
                </c:pt>
                <c:pt idx="92">
                  <c:v>484.91278476215518</c:v>
                </c:pt>
                <c:pt idx="93">
                  <c:v>492.20364191136576</c:v>
                </c:pt>
                <c:pt idx="94">
                  <c:v>499.35896207518874</c:v>
                </c:pt>
                <c:pt idx="95">
                  <c:v>506.37484600317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5.98748930806693</c:v>
                </c:pt>
                <c:pt idx="43">
                  <c:v>111.15707459527401</c:v>
                </c:pt>
                <c:pt idx="44">
                  <c:v>116.5038647513163</c:v>
                </c:pt>
                <c:pt idx="45">
                  <c:v>122.00964462820126</c:v>
                </c:pt>
                <c:pt idx="46">
                  <c:v>127.78885147886282</c:v>
                </c:pt>
                <c:pt idx="47">
                  <c:v>133.7950172807366</c:v>
                </c:pt>
                <c:pt idx="48">
                  <c:v>140.05474909502843</c:v>
                </c:pt>
                <c:pt idx="49">
                  <c:v>146.53346646471596</c:v>
                </c:pt>
                <c:pt idx="50">
                  <c:v>153.22436398356649</c:v>
                </c:pt>
                <c:pt idx="51">
                  <c:v>160.1425146910976</c:v>
                </c:pt>
                <c:pt idx="52">
                  <c:v>167.28549684453478</c:v>
                </c:pt>
                <c:pt idx="53">
                  <c:v>174.6866247148605</c:v>
                </c:pt>
                <c:pt idx="54">
                  <c:v>182.32451792921188</c:v>
                </c:pt>
                <c:pt idx="55">
                  <c:v>190.19737170310179</c:v>
                </c:pt>
                <c:pt idx="56">
                  <c:v>198.3008514693089</c:v>
                </c:pt>
                <c:pt idx="57">
                  <c:v>206.63688144855655</c:v>
                </c:pt>
                <c:pt idx="58">
                  <c:v>215.19769960881683</c:v>
                </c:pt>
                <c:pt idx="59">
                  <c:v>223.97514093008772</c:v>
                </c:pt>
                <c:pt idx="60">
                  <c:v>232.96662015269922</c:v>
                </c:pt>
                <c:pt idx="61">
                  <c:v>242.18632979041288</c:v>
                </c:pt>
                <c:pt idx="62">
                  <c:v>251.61803164465164</c:v>
                </c:pt>
                <c:pt idx="63">
                  <c:v>261.25277738198406</c:v>
                </c:pt>
                <c:pt idx="64">
                  <c:v>271.08266139208894</c:v>
                </c:pt>
                <c:pt idx="65">
                  <c:v>281.09900292157431</c:v>
                </c:pt>
                <c:pt idx="66">
                  <c:v>291.29241314750823</c:v>
                </c:pt>
                <c:pt idx="67">
                  <c:v>301.65254188143899</c:v>
                </c:pt>
                <c:pt idx="68">
                  <c:v>312.16815512657308</c:v>
                </c:pt>
                <c:pt idx="69">
                  <c:v>322.82717927563169</c:v>
                </c:pt>
                <c:pt idx="70">
                  <c:v>333.61676228458566</c:v>
                </c:pt>
                <c:pt idx="71">
                  <c:v>344.52331951169384</c:v>
                </c:pt>
                <c:pt idx="72">
                  <c:v>355.53272269997422</c:v>
                </c:pt>
                <c:pt idx="73">
                  <c:v>366.63037950973774</c:v>
                </c:pt>
                <c:pt idx="74">
                  <c:v>377.8012735696168</c:v>
                </c:pt>
                <c:pt idx="75">
                  <c:v>389.03001392672599</c:v>
                </c:pt>
                <c:pt idx="76">
                  <c:v>400.30093354965976</c:v>
                </c:pt>
                <c:pt idx="77">
                  <c:v>411.59816058876623</c:v>
                </c:pt>
                <c:pt idx="78">
                  <c:v>422.90571870411412</c:v>
                </c:pt>
                <c:pt idx="79">
                  <c:v>434.20762085808184</c:v>
                </c:pt>
                <c:pt idx="80">
                  <c:v>445.48796780768629</c:v>
                </c:pt>
                <c:pt idx="81">
                  <c:v>456.73103092540038</c:v>
                </c:pt>
                <c:pt idx="82">
                  <c:v>467.92131635905304</c:v>
                </c:pt>
                <c:pt idx="83">
                  <c:v>479.04364647822894</c:v>
                </c:pt>
                <c:pt idx="84">
                  <c:v>490.08323313361211</c:v>
                </c:pt>
                <c:pt idx="85">
                  <c:v>501.02574809314768</c:v>
                </c:pt>
                <c:pt idx="86">
                  <c:v>511.85738553375563</c:v>
                </c:pt>
                <c:pt idx="87">
                  <c:v>522.56492695245231</c:v>
                </c:pt>
                <c:pt idx="88">
                  <c:v>533.13579824430531</c:v>
                </c:pt>
                <c:pt idx="89">
                  <c:v>543.55811315743244</c:v>
                </c:pt>
                <c:pt idx="90">
                  <c:v>553.82070762908688</c:v>
                </c:pt>
                <c:pt idx="91">
                  <c:v>563.91317592227597</c:v>
                </c:pt>
                <c:pt idx="92">
                  <c:v>573.82589671566348</c:v>
                </c:pt>
                <c:pt idx="93">
                  <c:v>583.55005335016949</c:v>
                </c:pt>
                <c:pt idx="94">
                  <c:v>593.0776466606585</c:v>
                </c:pt>
                <c:pt idx="95">
                  <c:v>602.4015049830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25</c:v>
                </c:pt>
                <c:pt idx="3">
                  <c:v>27</c:v>
                </c:pt>
                <c:pt idx="4">
                  <c:v>32</c:v>
                </c:pt>
                <c:pt idx="5">
                  <c:v>35</c:v>
                </c:pt>
                <c:pt idx="6">
                  <c:v>32</c:v>
                </c:pt>
                <c:pt idx="7">
                  <c:v>30</c:v>
                </c:pt>
                <c:pt idx="8">
                  <c:v>29</c:v>
                </c:pt>
                <c:pt idx="9">
                  <c:v>30</c:v>
                </c:pt>
                <c:pt idx="10">
                  <c:v>31</c:v>
                </c:pt>
                <c:pt idx="11">
                  <c:v>31</c:v>
                </c:pt>
                <c:pt idx="12">
                  <c:v>30</c:v>
                </c:pt>
                <c:pt idx="13">
                  <c:v>29</c:v>
                </c:pt>
                <c:pt idx="14">
                  <c:v>29</c:v>
                </c:pt>
                <c:pt idx="15">
                  <c:v>26</c:v>
                </c:pt>
                <c:pt idx="16">
                  <c:v>23</c:v>
                </c:pt>
                <c:pt idx="17">
                  <c:v>27</c:v>
                </c:pt>
                <c:pt idx="18">
                  <c:v>28</c:v>
                </c:pt>
                <c:pt idx="19">
                  <c:v>20</c:v>
                </c:pt>
                <c:pt idx="20">
                  <c:v>16</c:v>
                </c:pt>
                <c:pt idx="21">
                  <c:v>23</c:v>
                </c:pt>
                <c:pt idx="22">
                  <c:v>22</c:v>
                </c:pt>
                <c:pt idx="23">
                  <c:v>25</c:v>
                </c:pt>
                <c:pt idx="24">
                  <c:v>25</c:v>
                </c:pt>
                <c:pt idx="25">
                  <c:v>33</c:v>
                </c:pt>
                <c:pt idx="26">
                  <c:v>39</c:v>
                </c:pt>
                <c:pt idx="27">
                  <c:v>29</c:v>
                </c:pt>
                <c:pt idx="28">
                  <c:v>40</c:v>
                </c:pt>
                <c:pt idx="29">
                  <c:v>38</c:v>
                </c:pt>
                <c:pt idx="30">
                  <c:v>43</c:v>
                </c:pt>
                <c:pt idx="31">
                  <c:v>46</c:v>
                </c:pt>
                <c:pt idx="32">
                  <c:v>37</c:v>
                </c:pt>
                <c:pt idx="33">
                  <c:v>57</c:v>
                </c:pt>
                <c:pt idx="34">
                  <c:v>56</c:v>
                </c:pt>
                <c:pt idx="35">
                  <c:v>59</c:v>
                </c:pt>
                <c:pt idx="36">
                  <c:v>54</c:v>
                </c:pt>
                <c:pt idx="37">
                  <c:v>59</c:v>
                </c:pt>
                <c:pt idx="38">
                  <c:v>72</c:v>
                </c:pt>
                <c:pt idx="39">
                  <c:v>74</c:v>
                </c:pt>
                <c:pt idx="40">
                  <c:v>81</c:v>
                </c:pt>
                <c:pt idx="41">
                  <c:v>85</c:v>
                </c:pt>
                <c:pt idx="42">
                  <c:v>87</c:v>
                </c:pt>
                <c:pt idx="43">
                  <c:v>90</c:v>
                </c:pt>
                <c:pt idx="44">
                  <c:v>94</c:v>
                </c:pt>
                <c:pt idx="45">
                  <c:v>98</c:v>
                </c:pt>
                <c:pt idx="46">
                  <c:v>94</c:v>
                </c:pt>
                <c:pt idx="47">
                  <c:v>107</c:v>
                </c:pt>
                <c:pt idx="48">
                  <c:v>103</c:v>
                </c:pt>
                <c:pt idx="49">
                  <c:v>117</c:v>
                </c:pt>
                <c:pt idx="50">
                  <c:v>116</c:v>
                </c:pt>
                <c:pt idx="51">
                  <c:v>116</c:v>
                </c:pt>
                <c:pt idx="52">
                  <c:v>118</c:v>
                </c:pt>
                <c:pt idx="53">
                  <c:v>128</c:v>
                </c:pt>
                <c:pt idx="54">
                  <c:v>130</c:v>
                </c:pt>
                <c:pt idx="55">
                  <c:v>151</c:v>
                </c:pt>
                <c:pt idx="56">
                  <c:v>136</c:v>
                </c:pt>
                <c:pt idx="57">
                  <c:v>147</c:v>
                </c:pt>
                <c:pt idx="58">
                  <c:v>149</c:v>
                </c:pt>
                <c:pt idx="59">
                  <c:v>138</c:v>
                </c:pt>
                <c:pt idx="60">
                  <c:v>136</c:v>
                </c:pt>
                <c:pt idx="61">
                  <c:v>135</c:v>
                </c:pt>
                <c:pt idx="62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0.125206408789325</c:v>
                </c:pt>
                <c:pt idx="43">
                  <c:v>84.268978849019049</c:v>
                </c:pt>
                <c:pt idx="44">
                  <c:v>88.287001337745977</c:v>
                </c:pt>
                <c:pt idx="45">
                  <c:v>92.086544521508031</c:v>
                </c:pt>
                <c:pt idx="46">
                  <c:v>95.842469771096219</c:v>
                </c:pt>
                <c:pt idx="47">
                  <c:v>99.615856649009018</c:v>
                </c:pt>
                <c:pt idx="48">
                  <c:v>103.31790165888782</c:v>
                </c:pt>
                <c:pt idx="49">
                  <c:v>106.90024548224321</c:v>
                </c:pt>
                <c:pt idx="50">
                  <c:v>110.14839241119299</c:v>
                </c:pt>
                <c:pt idx="51">
                  <c:v>113.33254740887222</c:v>
                </c:pt>
                <c:pt idx="52">
                  <c:v>116.41969654954727</c:v>
                </c:pt>
                <c:pt idx="53">
                  <c:v>119.47235557959851</c:v>
                </c:pt>
                <c:pt idx="54">
                  <c:v>122.25442536232953</c:v>
                </c:pt>
                <c:pt idx="55">
                  <c:v>124.90086046844311</c:v>
                </c:pt>
                <c:pt idx="56">
                  <c:v>127.5125377102797</c:v>
                </c:pt>
                <c:pt idx="57">
                  <c:v>129.95978670997863</c:v>
                </c:pt>
                <c:pt idx="58">
                  <c:v>132.2645677406091</c:v>
                </c:pt>
                <c:pt idx="59">
                  <c:v>134.42200529476176</c:v>
                </c:pt>
                <c:pt idx="60">
                  <c:v>136.515394746715</c:v>
                </c:pt>
                <c:pt idx="61">
                  <c:v>138.44142789140719</c:v>
                </c:pt>
                <c:pt idx="62">
                  <c:v>140.20733995023309</c:v>
                </c:pt>
                <c:pt idx="63">
                  <c:v>141.85151535931945</c:v>
                </c:pt>
                <c:pt idx="64">
                  <c:v>143.40745443149979</c:v>
                </c:pt>
                <c:pt idx="65">
                  <c:v>144.79902473331185</c:v>
                </c:pt>
                <c:pt idx="66">
                  <c:v>146.0383286704643</c:v>
                </c:pt>
                <c:pt idx="67">
                  <c:v>147.15256915692154</c:v>
                </c:pt>
                <c:pt idx="68">
                  <c:v>148.14820196795031</c:v>
                </c:pt>
                <c:pt idx="69">
                  <c:v>149.01639838918797</c:v>
                </c:pt>
                <c:pt idx="70">
                  <c:v>149.75039915623242</c:v>
                </c:pt>
                <c:pt idx="71">
                  <c:v>150.37500664723891</c:v>
                </c:pt>
                <c:pt idx="72">
                  <c:v>150.8640837774999</c:v>
                </c:pt>
                <c:pt idx="73">
                  <c:v>151.21894398510221</c:v>
                </c:pt>
                <c:pt idx="74">
                  <c:v>151.42541840833235</c:v>
                </c:pt>
                <c:pt idx="75">
                  <c:v>151.50596100687443</c:v>
                </c:pt>
                <c:pt idx="76">
                  <c:v>151.46132015510631</c:v>
                </c:pt>
                <c:pt idx="77">
                  <c:v>151.29132417400353</c:v>
                </c:pt>
                <c:pt idx="78">
                  <c:v>150.99110234803052</c:v>
                </c:pt>
                <c:pt idx="79">
                  <c:v>150.55751129421827</c:v>
                </c:pt>
                <c:pt idx="80">
                  <c:v>149.99770721532502</c:v>
                </c:pt>
                <c:pt idx="81">
                  <c:v>149.31551459439228</c:v>
                </c:pt>
                <c:pt idx="82">
                  <c:v>148.51239389419072</c:v>
                </c:pt>
                <c:pt idx="83">
                  <c:v>147.58863906123378</c:v>
                </c:pt>
                <c:pt idx="84">
                  <c:v>146.54827621757843</c:v>
                </c:pt>
                <c:pt idx="85">
                  <c:v>145.3950568166749</c:v>
                </c:pt>
                <c:pt idx="86">
                  <c:v>144.13288299353061</c:v>
                </c:pt>
                <c:pt idx="87">
                  <c:v>142.76502316371813</c:v>
                </c:pt>
                <c:pt idx="88">
                  <c:v>141.29587573798673</c:v>
                </c:pt>
                <c:pt idx="89">
                  <c:v>139.72936396155782</c:v>
                </c:pt>
                <c:pt idx="90">
                  <c:v>138.06918146033289</c:v>
                </c:pt>
                <c:pt idx="91">
                  <c:v>136.31987897874961</c:v>
                </c:pt>
                <c:pt idx="92">
                  <c:v>134.48651800735087</c:v>
                </c:pt>
                <c:pt idx="93">
                  <c:v>132.5739667342115</c:v>
                </c:pt>
                <c:pt idx="94">
                  <c:v>130.58701956820744</c:v>
                </c:pt>
                <c:pt idx="95">
                  <c:v>128.5306600089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0.283736387287789</c:v>
                </c:pt>
                <c:pt idx="43">
                  <c:v>84.649501605112789</c:v>
                </c:pt>
                <c:pt idx="44">
                  <c:v>88.960819947741811</c:v>
                </c:pt>
                <c:pt idx="45">
                  <c:v>93.131870678248163</c:v>
                </c:pt>
                <c:pt idx="46">
                  <c:v>97.341955495821594</c:v>
                </c:pt>
                <c:pt idx="47">
                  <c:v>101.65916753240285</c:v>
                </c:pt>
                <c:pt idx="48">
                  <c:v>105.99610436366478</c:v>
                </c:pt>
                <c:pt idx="49">
                  <c:v>110.30762570769708</c:v>
                </c:pt>
                <c:pt idx="50">
                  <c:v>114.379033935514</c:v>
                </c:pt>
                <c:pt idx="51">
                  <c:v>118.48134435188801</c:v>
                </c:pt>
                <c:pt idx="52">
                  <c:v>122.58060162704471</c:v>
                </c:pt>
                <c:pt idx="53">
                  <c:v>126.73662116518921</c:v>
                </c:pt>
                <c:pt idx="54">
                  <c:v>130.71094880882035</c:v>
                </c:pt>
                <c:pt idx="55">
                  <c:v>134.63430951823597</c:v>
                </c:pt>
                <c:pt idx="56">
                  <c:v>138.60390973726709</c:v>
                </c:pt>
                <c:pt idx="57">
                  <c:v>142.48480805024127</c:v>
                </c:pt>
                <c:pt idx="58">
                  <c:v>146.29312944359123</c:v>
                </c:pt>
                <c:pt idx="59">
                  <c:v>150.0149932376045</c:v>
                </c:pt>
                <c:pt idx="60">
                  <c:v>153.72840696298701</c:v>
                </c:pt>
                <c:pt idx="61">
                  <c:v>157.32082050556932</c:v>
                </c:pt>
                <c:pt idx="62">
                  <c:v>160.79267336549526</c:v>
                </c:pt>
                <c:pt idx="63">
                  <c:v>164.17574055156874</c:v>
                </c:pt>
                <c:pt idx="64">
                  <c:v>167.49524353742771</c:v>
                </c:pt>
                <c:pt idx="65">
                  <c:v>170.66655777660748</c:v>
                </c:pt>
                <c:pt idx="66">
                  <c:v>173.69410535034248</c:v>
                </c:pt>
                <c:pt idx="67">
                  <c:v>176.59822204444959</c:v>
                </c:pt>
                <c:pt idx="68">
                  <c:v>179.37765079319055</c:v>
                </c:pt>
                <c:pt idx="69">
                  <c:v>182.01593035204687</c:v>
                </c:pt>
                <c:pt idx="70">
                  <c:v>184.49841178104509</c:v>
                </c:pt>
                <c:pt idx="71">
                  <c:v>186.84223902951874</c:v>
                </c:pt>
                <c:pt idx="72">
                  <c:v>189.0133704435263</c:v>
                </c:pt>
                <c:pt idx="73">
                  <c:v>191.00625967157231</c:v>
                </c:pt>
                <c:pt idx="74">
                  <c:v>192.79982648642533</c:v>
                </c:pt>
                <c:pt idx="75">
                  <c:v>194.41042373219301</c:v>
                </c:pt>
                <c:pt idx="76">
                  <c:v>195.83271566784953</c:v>
                </c:pt>
                <c:pt idx="77">
                  <c:v>197.06082364121053</c:v>
                </c:pt>
                <c:pt idx="78">
                  <c:v>198.0840698886044</c:v>
                </c:pt>
                <c:pt idx="79">
                  <c:v>198.89422694083927</c:v>
                </c:pt>
                <c:pt idx="80">
                  <c:v>199.4943236299037</c:v>
                </c:pt>
                <c:pt idx="81">
                  <c:v>199.88423791690218</c:v>
                </c:pt>
                <c:pt idx="82">
                  <c:v>200.06199250624124</c:v>
                </c:pt>
                <c:pt idx="83">
                  <c:v>200.02496213206206</c:v>
                </c:pt>
                <c:pt idx="84">
                  <c:v>199.77477214432452</c:v>
                </c:pt>
                <c:pt idx="85">
                  <c:v>199.31330991520807</c:v>
                </c:pt>
                <c:pt idx="86">
                  <c:v>198.6431464168864</c:v>
                </c:pt>
                <c:pt idx="87">
                  <c:v>197.76675319454995</c:v>
                </c:pt>
                <c:pt idx="88">
                  <c:v>196.68825478213964</c:v>
                </c:pt>
                <c:pt idx="89">
                  <c:v>195.41180936079451</c:v>
                </c:pt>
                <c:pt idx="90">
                  <c:v>193.94183273240532</c:v>
                </c:pt>
                <c:pt idx="91">
                  <c:v>192.2840660897435</c:v>
                </c:pt>
                <c:pt idx="92">
                  <c:v>190.4452122013077</c:v>
                </c:pt>
                <c:pt idx="93">
                  <c:v>188.43220714909563</c:v>
                </c:pt>
                <c:pt idx="94">
                  <c:v>186.25230946654358</c:v>
                </c:pt>
                <c:pt idx="95">
                  <c:v>183.9133205758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0.443165917785791</c:v>
                </c:pt>
                <c:pt idx="43">
                  <c:v>85.033294554826469</c:v>
                </c:pt>
                <c:pt idx="44">
                  <c:v>89.642784772388595</c:v>
                </c:pt>
                <c:pt idx="45">
                  <c:v>94.193998274598385</c:v>
                </c:pt>
                <c:pt idx="46">
                  <c:v>98.872149803184499</c:v>
                </c:pt>
                <c:pt idx="47">
                  <c:v>103.75400251980803</c:v>
                </c:pt>
                <c:pt idx="48">
                  <c:v>108.75533651083364</c:v>
                </c:pt>
                <c:pt idx="49">
                  <c:v>113.8361258901237</c:v>
                </c:pt>
                <c:pt idx="50">
                  <c:v>118.78342093115847</c:v>
                </c:pt>
                <c:pt idx="51">
                  <c:v>123.87102745838405</c:v>
                </c:pt>
                <c:pt idx="52">
                  <c:v>129.06600652541448</c:v>
                </c:pt>
                <c:pt idx="53">
                  <c:v>134.42734979039844</c:v>
                </c:pt>
                <c:pt idx="54">
                  <c:v>139.71600076688006</c:v>
                </c:pt>
                <c:pt idx="55">
                  <c:v>145.06003108384365</c:v>
                </c:pt>
                <c:pt idx="56">
                  <c:v>150.55435977595715</c:v>
                </c:pt>
                <c:pt idx="57">
                  <c:v>156.05990619317924</c:v>
                </c:pt>
                <c:pt idx="58">
                  <c:v>161.58781610564819</c:v>
                </c:pt>
                <c:pt idx="59">
                  <c:v>167.11573556081999</c:v>
                </c:pt>
                <c:pt idx="60">
                  <c:v>172.71656667368612</c:v>
                </c:pt>
                <c:pt idx="61">
                  <c:v>178.26830290517816</c:v>
                </c:pt>
                <c:pt idx="62">
                  <c:v>183.76396913383201</c:v>
                </c:pt>
                <c:pt idx="63">
                  <c:v>189.22770100008984</c:v>
                </c:pt>
                <c:pt idx="64">
                  <c:v>194.67499144900404</c:v>
                </c:pt>
                <c:pt idx="65">
                  <c:v>200.01088729391691</c:v>
                </c:pt>
                <c:pt idx="66">
                  <c:v>205.22992137989485</c:v>
                </c:pt>
                <c:pt idx="67">
                  <c:v>210.34296858982975</c:v>
                </c:pt>
                <c:pt idx="68">
                  <c:v>215.33810693868523</c:v>
                </c:pt>
                <c:pt idx="69">
                  <c:v>220.1879650328417</c:v>
                </c:pt>
                <c:pt idx="70">
                  <c:v>224.86643813397876</c:v>
                </c:pt>
                <c:pt idx="71">
                  <c:v>229.3791983736582</c:v>
                </c:pt>
                <c:pt idx="72">
                  <c:v>233.68029634212985</c:v>
                </c:pt>
                <c:pt idx="73">
                  <c:v>237.75318684261964</c:v>
                </c:pt>
                <c:pt idx="74">
                  <c:v>241.56564906335183</c:v>
                </c:pt>
                <c:pt idx="75">
                  <c:v>245.12367105522461</c:v>
                </c:pt>
                <c:pt idx="76">
                  <c:v>248.41159154076132</c:v>
                </c:pt>
                <c:pt idx="77">
                  <c:v>251.41366255779764</c:v>
                </c:pt>
                <c:pt idx="78">
                  <c:v>254.10937101294081</c:v>
                </c:pt>
                <c:pt idx="79">
                  <c:v>256.48156761319945</c:v>
                </c:pt>
                <c:pt idx="80">
                  <c:v>258.52556095994555</c:v>
                </c:pt>
                <c:pt idx="81">
                  <c:v>260.23398010300241</c:v>
                </c:pt>
                <c:pt idx="82">
                  <c:v>261.59843995631553</c:v>
                </c:pt>
                <c:pt idx="83">
                  <c:v>262.610796964249</c:v>
                </c:pt>
                <c:pt idx="84">
                  <c:v>263.26808003959832</c:v>
                </c:pt>
                <c:pt idx="85">
                  <c:v>263.56854599798845</c:v>
                </c:pt>
                <c:pt idx="86">
                  <c:v>263.51211709009829</c:v>
                </c:pt>
                <c:pt idx="87">
                  <c:v>263.09961271948202</c:v>
                </c:pt>
                <c:pt idx="88">
                  <c:v>262.33449652985428</c:v>
                </c:pt>
                <c:pt idx="89">
                  <c:v>261.22124137332537</c:v>
                </c:pt>
                <c:pt idx="90">
                  <c:v>259.76552386882037</c:v>
                </c:pt>
                <c:pt idx="91">
                  <c:v>257.9752598021476</c:v>
                </c:pt>
                <c:pt idx="92">
                  <c:v>255.86020304204698</c:v>
                </c:pt>
                <c:pt idx="93">
                  <c:v>253.43116810145557</c:v>
                </c:pt>
                <c:pt idx="94">
                  <c:v>250.70005905161048</c:v>
                </c:pt>
                <c:pt idx="95">
                  <c:v>247.68002596990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1</c:v>
                </c:pt>
                <c:pt idx="24">
                  <c:v>12</c:v>
                </c:pt>
                <c:pt idx="25">
                  <c:v>12</c:v>
                </c:pt>
                <c:pt idx="26">
                  <c:v>13</c:v>
                </c:pt>
                <c:pt idx="27">
                  <c:v>15</c:v>
                </c:pt>
                <c:pt idx="28">
                  <c:v>18</c:v>
                </c:pt>
                <c:pt idx="29">
                  <c:v>18</c:v>
                </c:pt>
                <c:pt idx="30">
                  <c:v>25</c:v>
                </c:pt>
                <c:pt idx="31">
                  <c:v>30</c:v>
                </c:pt>
                <c:pt idx="32">
                  <c:v>32</c:v>
                </c:pt>
                <c:pt idx="33">
                  <c:v>35</c:v>
                </c:pt>
                <c:pt idx="34">
                  <c:v>39</c:v>
                </c:pt>
                <c:pt idx="35">
                  <c:v>43</c:v>
                </c:pt>
                <c:pt idx="36">
                  <c:v>46</c:v>
                </c:pt>
                <c:pt idx="37">
                  <c:v>52</c:v>
                </c:pt>
                <c:pt idx="38">
                  <c:v>59</c:v>
                </c:pt>
                <c:pt idx="39">
                  <c:v>67</c:v>
                </c:pt>
                <c:pt idx="40">
                  <c:v>70</c:v>
                </c:pt>
                <c:pt idx="41">
                  <c:v>70</c:v>
                </c:pt>
                <c:pt idx="42">
                  <c:v>73</c:v>
                </c:pt>
                <c:pt idx="43">
                  <c:v>81</c:v>
                </c:pt>
                <c:pt idx="44">
                  <c:v>88</c:v>
                </c:pt>
                <c:pt idx="45">
                  <c:v>95</c:v>
                </c:pt>
                <c:pt idx="46">
                  <c:v>102</c:v>
                </c:pt>
                <c:pt idx="47">
                  <c:v>107</c:v>
                </c:pt>
                <c:pt idx="48">
                  <c:v>109</c:v>
                </c:pt>
                <c:pt idx="49">
                  <c:v>118</c:v>
                </c:pt>
                <c:pt idx="50">
                  <c:v>125</c:v>
                </c:pt>
                <c:pt idx="51">
                  <c:v>131</c:v>
                </c:pt>
                <c:pt idx="52">
                  <c:v>139</c:v>
                </c:pt>
                <c:pt idx="53">
                  <c:v>147</c:v>
                </c:pt>
                <c:pt idx="54">
                  <c:v>151</c:v>
                </c:pt>
                <c:pt idx="55">
                  <c:v>155</c:v>
                </c:pt>
                <c:pt idx="56">
                  <c:v>157</c:v>
                </c:pt>
                <c:pt idx="57">
                  <c:v>165</c:v>
                </c:pt>
                <c:pt idx="58">
                  <c:v>168</c:v>
                </c:pt>
                <c:pt idx="59">
                  <c:v>174</c:v>
                </c:pt>
                <c:pt idx="60">
                  <c:v>181</c:v>
                </c:pt>
                <c:pt idx="61">
                  <c:v>195</c:v>
                </c:pt>
                <c:pt idx="62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75.490201640955505</c:v>
                </c:pt>
                <c:pt idx="43">
                  <c:v>81.112767639644517</c:v>
                </c:pt>
                <c:pt idx="44">
                  <c:v>86.850322425719298</c:v>
                </c:pt>
                <c:pt idx="45">
                  <c:v>92.670196434059108</c:v>
                </c:pt>
                <c:pt idx="46">
                  <c:v>98.689285542404889</c:v>
                </c:pt>
                <c:pt idx="47">
                  <c:v>104.84363877417367</c:v>
                </c:pt>
                <c:pt idx="48">
                  <c:v>111.15389494673008</c:v>
                </c:pt>
                <c:pt idx="49">
                  <c:v>117.56951040962377</c:v>
                </c:pt>
                <c:pt idx="50">
                  <c:v>124.07238246344082</c:v>
                </c:pt>
                <c:pt idx="51">
                  <c:v>130.67240846600902</c:v>
                </c:pt>
                <c:pt idx="52">
                  <c:v>137.36002746708971</c:v>
                </c:pt>
                <c:pt idx="53">
                  <c:v>144.16441527713431</c:v>
                </c:pt>
                <c:pt idx="54">
                  <c:v>151.05431039320973</c:v>
                </c:pt>
                <c:pt idx="55">
                  <c:v>158.02318803604612</c:v>
                </c:pt>
                <c:pt idx="56">
                  <c:v>165.06210365772444</c:v>
                </c:pt>
                <c:pt idx="57">
                  <c:v>172.16991786394345</c:v>
                </c:pt>
                <c:pt idx="58">
                  <c:v>179.33471944450616</c:v>
                </c:pt>
                <c:pt idx="59">
                  <c:v>186.54584887508184</c:v>
                </c:pt>
                <c:pt idx="60">
                  <c:v>193.79946755563017</c:v>
                </c:pt>
                <c:pt idx="61">
                  <c:v>201.1111053015274</c:v>
                </c:pt>
                <c:pt idx="62">
                  <c:v>208.46345422448616</c:v>
                </c:pt>
                <c:pt idx="63">
                  <c:v>215.84831624899817</c:v>
                </c:pt>
                <c:pt idx="64">
                  <c:v>223.25967561989833</c:v>
                </c:pt>
                <c:pt idx="65">
                  <c:v>230.69153006650856</c:v>
                </c:pt>
                <c:pt idx="66">
                  <c:v>238.13792607241339</c:v>
                </c:pt>
                <c:pt idx="67">
                  <c:v>245.59279590063036</c:v>
                </c:pt>
                <c:pt idx="68">
                  <c:v>253.0499956352017</c:v>
                </c:pt>
                <c:pt idx="69">
                  <c:v>260.50332551887567</c:v>
                </c:pt>
                <c:pt idx="70">
                  <c:v>267.94655541875682</c:v>
                </c:pt>
                <c:pt idx="71">
                  <c:v>275.37343989232733</c:v>
                </c:pt>
                <c:pt idx="72">
                  <c:v>282.77781031297525</c:v>
                </c:pt>
                <c:pt idx="73">
                  <c:v>290.15360095781682</c:v>
                </c:pt>
                <c:pt idx="74">
                  <c:v>297.49484711868081</c:v>
                </c:pt>
                <c:pt idx="75">
                  <c:v>304.79568429594872</c:v>
                </c:pt>
                <c:pt idx="76">
                  <c:v>312.05037460132178</c:v>
                </c:pt>
                <c:pt idx="77">
                  <c:v>319.25331506963198</c:v>
                </c:pt>
                <c:pt idx="78">
                  <c:v>326.39906207379858</c:v>
                </c:pt>
                <c:pt idx="79">
                  <c:v>333.4823505714005</c:v>
                </c:pt>
                <c:pt idx="80">
                  <c:v>340.49811447410644</c:v>
                </c:pt>
                <c:pt idx="81">
                  <c:v>347.44149773216458</c:v>
                </c:pt>
                <c:pt idx="82">
                  <c:v>354.30785435594834</c:v>
                </c:pt>
                <c:pt idx="83">
                  <c:v>361.09275924291779</c:v>
                </c:pt>
                <c:pt idx="84">
                  <c:v>367.79201545891851</c:v>
                </c:pt>
                <c:pt idx="85">
                  <c:v>374.40166113897709</c:v>
                </c:pt>
                <c:pt idx="86">
                  <c:v>380.91797368585122</c:v>
                </c:pt>
                <c:pt idx="87">
                  <c:v>387.33747733701057</c:v>
                </c:pt>
                <c:pt idx="88">
                  <c:v>393.65694865412866</c:v>
                </c:pt>
                <c:pt idx="89">
                  <c:v>399.8734165002474</c:v>
                </c:pt>
                <c:pt idx="90">
                  <c:v>405.98415938142284</c:v>
                </c:pt>
                <c:pt idx="91">
                  <c:v>411.98670678899339</c:v>
                </c:pt>
                <c:pt idx="92">
                  <c:v>417.87883759853412</c:v>
                </c:pt>
                <c:pt idx="93">
                  <c:v>423.65857802920789</c:v>
                </c:pt>
                <c:pt idx="94">
                  <c:v>429.32419823451022</c:v>
                </c:pt>
                <c:pt idx="95">
                  <c:v>434.8742168923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5.566840359482924</c:v>
                </c:pt>
                <c:pt idx="43">
                  <c:v>81.301484312747164</c:v>
                </c:pt>
                <c:pt idx="44">
                  <c:v>87.192410609395395</c:v>
                </c:pt>
                <c:pt idx="45">
                  <c:v>93.212704929856997</c:v>
                </c:pt>
                <c:pt idx="46">
                  <c:v>99.48471678283039</c:v>
                </c:pt>
                <c:pt idx="47">
                  <c:v>105.95006006779479</c:v>
                </c:pt>
                <c:pt idx="48">
                  <c:v>112.63435434367642</c:v>
                </c:pt>
                <c:pt idx="49">
                  <c:v>119.49169675466638</c:v>
                </c:pt>
                <c:pt idx="50">
                  <c:v>126.50815908243302</c:v>
                </c:pt>
                <c:pt idx="51">
                  <c:v>133.69721099450027</c:v>
                </c:pt>
                <c:pt idx="52">
                  <c:v>141.05248453572727</c:v>
                </c:pt>
                <c:pt idx="53">
                  <c:v>148.6058530951629</c:v>
                </c:pt>
                <c:pt idx="54">
                  <c:v>156.32868394584781</c:v>
                </c:pt>
                <c:pt idx="55">
                  <c:v>164.21643920906308</c:v>
                </c:pt>
                <c:pt idx="56">
                  <c:v>172.26167465509963</c:v>
                </c:pt>
                <c:pt idx="57">
                  <c:v>180.46432485184272</c:v>
                </c:pt>
                <c:pt idx="58">
                  <c:v>188.81320056059312</c:v>
                </c:pt>
                <c:pt idx="59">
                  <c:v>197.29797589865706</c:v>
                </c:pt>
                <c:pt idx="60">
                  <c:v>205.91474273424512</c:v>
                </c:pt>
                <c:pt idx="61">
                  <c:v>214.67856755989357</c:v>
                </c:pt>
                <c:pt idx="62">
                  <c:v>223.5714347374755</c:v>
                </c:pt>
                <c:pt idx="63">
                  <c:v>232.583975589033</c:v>
                </c:pt>
                <c:pt idx="64">
                  <c:v>241.70857724125682</c:v>
                </c:pt>
                <c:pt idx="65">
                  <c:v>250.93730131783713</c:v>
                </c:pt>
                <c:pt idx="66">
                  <c:v>260.26194370994835</c:v>
                </c:pt>
                <c:pt idx="67">
                  <c:v>269.67382140059726</c:v>
                </c:pt>
                <c:pt idx="68">
                  <c:v>279.16383557967617</c:v>
                </c:pt>
                <c:pt idx="69">
                  <c:v>288.72250767134307</c:v>
                </c:pt>
                <c:pt idx="70">
                  <c:v>298.34002523943502</c:v>
                </c:pt>
                <c:pt idx="71">
                  <c:v>308.00627317841656</c:v>
                </c:pt>
                <c:pt idx="72">
                  <c:v>317.71097773573604</c:v>
                </c:pt>
                <c:pt idx="73">
                  <c:v>327.44375774164541</c:v>
                </c:pt>
                <c:pt idx="74">
                  <c:v>337.19413908438685</c:v>
                </c:pt>
                <c:pt idx="75">
                  <c:v>346.95157356097513</c:v>
                </c:pt>
                <c:pt idx="76">
                  <c:v>356.70549622270784</c:v>
                </c:pt>
                <c:pt idx="77">
                  <c:v>366.44535827020934</c:v>
                </c:pt>
                <c:pt idx="78">
                  <c:v>376.16068295230735</c:v>
                </c:pt>
                <c:pt idx="79">
                  <c:v>385.84111472329317</c:v>
                </c:pt>
                <c:pt idx="80">
                  <c:v>395.47647068103578</c:v>
                </c:pt>
                <c:pt idx="81">
                  <c:v>405.05677882882071</c:v>
                </c:pt>
                <c:pt idx="82">
                  <c:v>414.57230104954056</c:v>
                </c:pt>
                <c:pt idx="83">
                  <c:v>424.01357069235922</c:v>
                </c:pt>
                <c:pt idx="84">
                  <c:v>433.37142433856002</c:v>
                </c:pt>
                <c:pt idx="85">
                  <c:v>442.63703240490503</c:v>
                </c:pt>
                <c:pt idx="86">
                  <c:v>451.80192487968873</c:v>
                </c:pt>
                <c:pt idx="87">
                  <c:v>460.85802077969106</c:v>
                </c:pt>
                <c:pt idx="88">
                  <c:v>469.79765328807429</c:v>
                </c:pt>
                <c:pt idx="89">
                  <c:v>478.61358597419246</c:v>
                </c:pt>
                <c:pt idx="90">
                  <c:v>487.29902394061804</c:v>
                </c:pt>
                <c:pt idx="91">
                  <c:v>495.84762898118032</c:v>
                </c:pt>
                <c:pt idx="92">
                  <c:v>504.25352908023893</c:v>
                </c:pt>
                <c:pt idx="93">
                  <c:v>512.51132571919698</c:v>
                </c:pt>
                <c:pt idx="94">
                  <c:v>520.6160976892188</c:v>
                </c:pt>
                <c:pt idx="95">
                  <c:v>528.5634050503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5.643913623573511</c:v>
                </c:pt>
                <c:pt idx="43">
                  <c:v>81.491808595418746</c:v>
                </c:pt>
                <c:pt idx="44">
                  <c:v>87.538563520672213</c:v>
                </c:pt>
                <c:pt idx="45">
                  <c:v>93.763713261921907</c:v>
                </c:pt>
                <c:pt idx="46">
                  <c:v>100.29589446397284</c:v>
                </c:pt>
                <c:pt idx="47">
                  <c:v>107.08325176347437</c:v>
                </c:pt>
                <c:pt idx="48">
                  <c:v>114.15747317597531</c:v>
                </c:pt>
                <c:pt idx="49">
                  <c:v>121.4784986104796</c:v>
                </c:pt>
                <c:pt idx="50">
                  <c:v>129.03787387713464</c:v>
                </c:pt>
                <c:pt idx="51">
                  <c:v>136.85402318234975</c:v>
                </c:pt>
                <c:pt idx="52">
                  <c:v>144.92521697871553</c:v>
                </c:pt>
                <c:pt idx="53">
                  <c:v>153.2875082065255</c:v>
                </c:pt>
                <c:pt idx="54">
                  <c:v>161.91638817589518</c:v>
                </c:pt>
                <c:pt idx="55">
                  <c:v>170.81078797144073</c:v>
                </c:pt>
                <c:pt idx="56">
                  <c:v>179.96621732250168</c:v>
                </c:pt>
                <c:pt idx="57">
                  <c:v>189.3850790040035</c:v>
                </c:pt>
                <c:pt idx="58">
                  <c:v>199.05822121368362</c:v>
                </c:pt>
                <c:pt idx="59">
                  <c:v>208.97686393058305</c:v>
                </c:pt>
                <c:pt idx="60">
                  <c:v>219.13810695078593</c:v>
                </c:pt>
                <c:pt idx="61">
                  <c:v>229.55747387102028</c:v>
                </c:pt>
                <c:pt idx="62">
                  <c:v>240.21698173700523</c:v>
                </c:pt>
                <c:pt idx="63">
                  <c:v>251.10663474298136</c:v>
                </c:pt>
                <c:pt idx="64">
                  <c:v>262.21755282369293</c:v>
                </c:pt>
                <c:pt idx="65">
                  <c:v>273.53997826821262</c:v>
                </c:pt>
                <c:pt idx="66">
                  <c:v>285.06335019975103</c:v>
                </c:pt>
                <c:pt idx="67">
                  <c:v>296.77601816567363</c:v>
                </c:pt>
                <c:pt idx="68">
                  <c:v>308.66532819915096</c:v>
                </c:pt>
                <c:pt idx="69">
                  <c:v>320.7176730657672</c:v>
                </c:pt>
                <c:pt idx="70">
                  <c:v>332.91856158849345</c:v>
                </c:pt>
                <c:pt idx="71">
                  <c:v>345.2526710282263</c:v>
                </c:pt>
                <c:pt idx="72">
                  <c:v>357.70405939306977</c:v>
                </c:pt>
                <c:pt idx="73">
                  <c:v>370.25625493643787</c:v>
                </c:pt>
                <c:pt idx="74">
                  <c:v>382.89230107964624</c:v>
                </c:pt>
                <c:pt idx="75">
                  <c:v>395.59481245648738</c:v>
                </c:pt>
                <c:pt idx="76">
                  <c:v>408.34608566043215</c:v>
                </c:pt>
                <c:pt idx="77">
                  <c:v>421.12817971204794</c:v>
                </c:pt>
                <c:pt idx="78">
                  <c:v>433.92302974021857</c:v>
                </c:pt>
                <c:pt idx="79">
                  <c:v>446.71255321552201</c:v>
                </c:pt>
                <c:pt idx="80">
                  <c:v>459.47876095794732</c:v>
                </c:pt>
                <c:pt idx="81">
                  <c:v>472.20385068266762</c:v>
                </c:pt>
                <c:pt idx="82">
                  <c:v>484.87028024212293</c:v>
                </c:pt>
                <c:pt idx="83">
                  <c:v>497.4608599016621</c:v>
                </c:pt>
                <c:pt idx="84">
                  <c:v>509.95883534119105</c:v>
                </c:pt>
                <c:pt idx="85">
                  <c:v>522.34796757190065</c:v>
                </c:pt>
                <c:pt idx="86">
                  <c:v>534.61260403281949</c:v>
                </c:pt>
                <c:pt idx="87">
                  <c:v>546.73775223867437</c:v>
                </c:pt>
                <c:pt idx="88">
                  <c:v>558.70914455611444</c:v>
                </c:pt>
                <c:pt idx="89">
                  <c:v>570.51328789345416</c:v>
                </c:pt>
                <c:pt idx="90">
                  <c:v>582.13750317444533</c:v>
                </c:pt>
                <c:pt idx="91">
                  <c:v>593.56996659488516</c:v>
                </c:pt>
                <c:pt idx="92">
                  <c:v>604.79973959308768</c:v>
                </c:pt>
                <c:pt idx="93">
                  <c:v>615.8167921950751</c:v>
                </c:pt>
                <c:pt idx="94">
                  <c:v>626.61201800511094</c:v>
                </c:pt>
                <c:pt idx="95">
                  <c:v>637.1772458903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12</c:v>
                </c:pt>
                <c:pt idx="39">
                  <c:v>12</c:v>
                </c:pt>
                <c:pt idx="40">
                  <c:v>13</c:v>
                </c:pt>
                <c:pt idx="41">
                  <c:v>14</c:v>
                </c:pt>
                <c:pt idx="42">
                  <c:v>14</c:v>
                </c:pt>
                <c:pt idx="43">
                  <c:v>15</c:v>
                </c:pt>
                <c:pt idx="44">
                  <c:v>16</c:v>
                </c:pt>
                <c:pt idx="45">
                  <c:v>17</c:v>
                </c:pt>
                <c:pt idx="46">
                  <c:v>17</c:v>
                </c:pt>
                <c:pt idx="47">
                  <c:v>17</c:v>
                </c:pt>
                <c:pt idx="48">
                  <c:v>19</c:v>
                </c:pt>
                <c:pt idx="49">
                  <c:v>20</c:v>
                </c:pt>
                <c:pt idx="50">
                  <c:v>20</c:v>
                </c:pt>
                <c:pt idx="51">
                  <c:v>22</c:v>
                </c:pt>
                <c:pt idx="52">
                  <c:v>24</c:v>
                </c:pt>
                <c:pt idx="53">
                  <c:v>28</c:v>
                </c:pt>
                <c:pt idx="54">
                  <c:v>29</c:v>
                </c:pt>
                <c:pt idx="55">
                  <c:v>31</c:v>
                </c:pt>
                <c:pt idx="56">
                  <c:v>32</c:v>
                </c:pt>
                <c:pt idx="57">
                  <c:v>32</c:v>
                </c:pt>
                <c:pt idx="58">
                  <c:v>32</c:v>
                </c:pt>
                <c:pt idx="59">
                  <c:v>34</c:v>
                </c:pt>
                <c:pt idx="60">
                  <c:v>35</c:v>
                </c:pt>
                <c:pt idx="61">
                  <c:v>37</c:v>
                </c:pt>
                <c:pt idx="62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947268619079889</c:v>
                </c:pt>
                <c:pt idx="43">
                  <c:v>15.917254555316402</c:v>
                </c:pt>
                <c:pt idx="44">
                  <c:v>16.906992699847542</c:v>
                </c:pt>
                <c:pt idx="45">
                  <c:v>17.910859771357948</c:v>
                </c:pt>
                <c:pt idx="46">
                  <c:v>18.948963229822255</c:v>
                </c:pt>
                <c:pt idx="47">
                  <c:v>20.010324388766499</c:v>
                </c:pt>
                <c:pt idx="48">
                  <c:v>21.098617726239787</c:v>
                </c:pt>
                <c:pt idx="49">
                  <c:v>22.205055427568205</c:v>
                </c:pt>
                <c:pt idx="50">
                  <c:v>23.32645918016965</c:v>
                </c:pt>
                <c:pt idx="51">
                  <c:v>24.464633944653883</c:v>
                </c:pt>
                <c:pt idx="52">
                  <c:v>25.618001125322458</c:v>
                </c:pt>
                <c:pt idx="53">
                  <c:v>26.791472518380615</c:v>
                </c:pt>
                <c:pt idx="54">
                  <c:v>27.979629997517208</c:v>
                </c:pt>
                <c:pt idx="55">
                  <c:v>29.181415287341231</c:v>
                </c:pt>
                <c:pt idx="56">
                  <c:v>30.395311645504709</c:v>
                </c:pt>
                <c:pt idx="57">
                  <c:v>31.621134795548688</c:v>
                </c:pt>
                <c:pt idx="58">
                  <c:v>32.856799076231873</c:v>
                </c:pt>
                <c:pt idx="59">
                  <c:v>34.100494462831072</c:v>
                </c:pt>
                <c:pt idx="60">
                  <c:v>35.351556381375161</c:v>
                </c:pt>
                <c:pt idx="61">
                  <c:v>36.612621264610205</c:v>
                </c:pt>
                <c:pt idx="62">
                  <c:v>37.880727763340033</c:v>
                </c:pt>
                <c:pt idx="63">
                  <c:v>39.154466968947425</c:v>
                </c:pt>
                <c:pt idx="64">
                  <c:v>40.432801642440054</c:v>
                </c:pt>
                <c:pt idx="65">
                  <c:v>41.714696817659501</c:v>
                </c:pt>
                <c:pt idx="66">
                  <c:v>42.999125856024691</c:v>
                </c:pt>
                <c:pt idx="67">
                  <c:v>44.285042347162268</c:v>
                </c:pt>
                <c:pt idx="68">
                  <c:v>45.571386624070868</c:v>
                </c:pt>
                <c:pt idx="69">
                  <c:v>46.857089296317277</c:v>
                </c:pt>
                <c:pt idx="70">
                  <c:v>48.141075662925083</c:v>
                </c:pt>
                <c:pt idx="71">
                  <c:v>49.422268342319029</c:v>
                </c:pt>
                <c:pt idx="72">
                  <c:v>50.699603126472958</c:v>
                </c:pt>
                <c:pt idx="73">
                  <c:v>51.972033475309637</c:v>
                </c:pt>
                <c:pt idx="74">
                  <c:v>53.238530187634119</c:v>
                </c:pt>
                <c:pt idx="75">
                  <c:v>54.498081279369089</c:v>
                </c:pt>
                <c:pt idx="76">
                  <c:v>55.749696522596281</c:v>
                </c:pt>
                <c:pt idx="77">
                  <c:v>56.992408882544638</c:v>
                </c:pt>
                <c:pt idx="78">
                  <c:v>58.225278744027165</c:v>
                </c:pt>
                <c:pt idx="79">
                  <c:v>59.447397242510711</c:v>
                </c:pt>
                <c:pt idx="80">
                  <c:v>60.657889766783669</c:v>
                </c:pt>
                <c:pt idx="81">
                  <c:v>61.85591786683726</c:v>
                </c:pt>
                <c:pt idx="82">
                  <c:v>63.040679283959022</c:v>
                </c:pt>
                <c:pt idx="83">
                  <c:v>64.211409823005283</c:v>
                </c:pt>
                <c:pt idx="84">
                  <c:v>65.367384609512499</c:v>
                </c:pt>
                <c:pt idx="85">
                  <c:v>66.5079192836792</c:v>
                </c:pt>
                <c:pt idx="86">
                  <c:v>67.632370732673948</c:v>
                </c:pt>
                <c:pt idx="87">
                  <c:v>68.740138396100733</c:v>
                </c:pt>
                <c:pt idx="88">
                  <c:v>69.830665210886167</c:v>
                </c:pt>
                <c:pt idx="89">
                  <c:v>70.903437616906047</c:v>
                </c:pt>
                <c:pt idx="90">
                  <c:v>71.957985110961587</c:v>
                </c:pt>
                <c:pt idx="91">
                  <c:v>72.993880480221193</c:v>
                </c:pt>
                <c:pt idx="92">
                  <c:v>74.010739530438599</c:v>
                </c:pt>
                <c:pt idx="93">
                  <c:v>75.008220737470566</c:v>
                </c:pt>
                <c:pt idx="94">
                  <c:v>75.986024663896686</c:v>
                </c:pt>
                <c:pt idx="95">
                  <c:v>76.943894737569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960455003954083</c:v>
                </c:pt>
                <c:pt idx="43">
                  <c:v>15.949726111615975</c:v>
                </c:pt>
                <c:pt idx="44">
                  <c:v>16.965856939521061</c:v>
                </c:pt>
                <c:pt idx="45">
                  <c:v>18.004216068553809</c:v>
                </c:pt>
                <c:pt idx="46">
                  <c:v>19.085850953917284</c:v>
                </c:pt>
                <c:pt idx="47">
                  <c:v>20.200742173901588</c:v>
                </c:pt>
                <c:pt idx="48">
                  <c:v>21.353423678401683</c:v>
                </c:pt>
                <c:pt idx="49">
                  <c:v>22.53590892383734</c:v>
                </c:pt>
                <c:pt idx="50">
                  <c:v>23.745740404830215</c:v>
                </c:pt>
                <c:pt idx="51">
                  <c:v>24.985340076064311</c:v>
                </c:pt>
                <c:pt idx="52">
                  <c:v>26.253681287562621</c:v>
                </c:pt>
                <c:pt idx="53">
                  <c:v>27.556142911696234</c:v>
                </c:pt>
                <c:pt idx="54">
                  <c:v>28.887761445441988</c:v>
                </c:pt>
                <c:pt idx="55">
                  <c:v>30.247822765604482</c:v>
                </c:pt>
                <c:pt idx="56">
                  <c:v>31.635070670947805</c:v>
                </c:pt>
                <c:pt idx="57">
                  <c:v>33.049508057246783</c:v>
                </c:pt>
                <c:pt idx="58">
                  <c:v>34.489175775313612</c:v>
                </c:pt>
                <c:pt idx="59">
                  <c:v>35.952323242399402</c:v>
                </c:pt>
                <c:pt idx="60">
                  <c:v>37.438275740005743</c:v>
                </c:pt>
                <c:pt idx="61">
                  <c:v>38.949591585914476</c:v>
                </c:pt>
                <c:pt idx="62">
                  <c:v>40.483188802253139</c:v>
                </c:pt>
                <c:pt idx="63">
                  <c:v>42.037458128023701</c:v>
                </c:pt>
                <c:pt idx="64">
                  <c:v>43.611088453490098</c:v>
                </c:pt>
                <c:pt idx="65">
                  <c:v>45.202712438986062</c:v>
                </c:pt>
                <c:pt idx="66">
                  <c:v>46.810916766173619</c:v>
                </c:pt>
                <c:pt idx="67">
                  <c:v>48.434205380580316</c:v>
                </c:pt>
                <c:pt idx="68">
                  <c:v>50.071010303701357</c:v>
                </c:pt>
                <c:pt idx="69">
                  <c:v>51.719697874789411</c:v>
                </c:pt>
                <c:pt idx="70">
                  <c:v>53.37857669024006</c:v>
                </c:pt>
                <c:pt idx="71">
                  <c:v>55.045903023922783</c:v>
                </c:pt>
                <c:pt idx="72">
                  <c:v>56.719905608403096</c:v>
                </c:pt>
                <c:pt idx="73">
                  <c:v>58.398794459316818</c:v>
                </c:pt>
                <c:pt idx="74">
                  <c:v>60.080763363628279</c:v>
                </c:pt>
                <c:pt idx="75">
                  <c:v>61.7639931494775</c:v>
                </c:pt>
                <c:pt idx="76">
                  <c:v>63.446661552375147</c:v>
                </c:pt>
                <c:pt idx="77">
                  <c:v>65.126948890812287</c:v>
                </c:pt>
                <c:pt idx="78">
                  <c:v>66.803047726625863</c:v>
                </c:pt>
                <c:pt idx="79">
                  <c:v>68.473171357772742</c:v>
                </c:pt>
                <c:pt idx="80">
                  <c:v>70.135562674248504</c:v>
                </c:pt>
                <c:pt idx="81">
                  <c:v>71.788500752691675</c:v>
                </c:pt>
                <c:pt idx="82">
                  <c:v>73.430304856068034</c:v>
                </c:pt>
                <c:pt idx="83">
                  <c:v>75.059340924396849</c:v>
                </c:pt>
                <c:pt idx="84">
                  <c:v>76.674027058264102</c:v>
                </c:pt>
                <c:pt idx="85">
                  <c:v>78.272838805994581</c:v>
                </c:pt>
                <c:pt idx="86">
                  <c:v>79.854313618425195</c:v>
                </c:pt>
                <c:pt idx="87">
                  <c:v>81.417055934574748</c:v>
                </c:pt>
                <c:pt idx="88">
                  <c:v>82.959741520218586</c:v>
                </c:pt>
                <c:pt idx="89">
                  <c:v>84.481120284549036</c:v>
                </c:pt>
                <c:pt idx="90">
                  <c:v>85.980018226288166</c:v>
                </c:pt>
                <c:pt idx="91">
                  <c:v>87.455340057366826</c:v>
                </c:pt>
                <c:pt idx="92">
                  <c:v>88.906070854230535</c:v>
                </c:pt>
                <c:pt idx="93">
                  <c:v>90.331277329855283</c:v>
                </c:pt>
                <c:pt idx="94">
                  <c:v>91.730108504820706</c:v>
                </c:pt>
                <c:pt idx="95">
                  <c:v>93.101796397933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973716159998936</c:v>
                </c:pt>
                <c:pt idx="43">
                  <c:v>15.98247428187355</c:v>
                </c:pt>
                <c:pt idx="44">
                  <c:v>17.025420582394048</c:v>
                </c:pt>
                <c:pt idx="45">
                  <c:v>18.099034931323189</c:v>
                </c:pt>
                <c:pt idx="46">
                  <c:v>19.225448253781714</c:v>
                </c:pt>
                <c:pt idx="47">
                  <c:v>20.395766685572269</c:v>
                </c:pt>
                <c:pt idx="48">
                  <c:v>21.615570959203602</c:v>
                </c:pt>
                <c:pt idx="49">
                  <c:v>22.877882828808929</c:v>
                </c:pt>
                <c:pt idx="50">
                  <c:v>24.181189482160661</c:v>
                </c:pt>
                <c:pt idx="51">
                  <c:v>25.528768058909101</c:v>
                </c:pt>
                <c:pt idx="52">
                  <c:v>26.920392996598792</c:v>
                </c:pt>
                <c:pt idx="53">
                  <c:v>28.362165753101849</c:v>
                </c:pt>
                <c:pt idx="54">
                  <c:v>29.849835320527749</c:v>
                </c:pt>
                <c:pt idx="55">
                  <c:v>31.383287408523412</c:v>
                </c:pt>
                <c:pt idx="56">
                  <c:v>32.961777214526862</c:v>
                </c:pt>
                <c:pt idx="57">
                  <c:v>34.58573550789027</c:v>
                </c:pt>
                <c:pt idx="58">
                  <c:v>36.253556850453869</c:v>
                </c:pt>
                <c:pt idx="59">
                  <c:v>37.963759581113713</c:v>
                </c:pt>
                <c:pt idx="60">
                  <c:v>39.715845165733043</c:v>
                </c:pt>
                <c:pt idx="61">
                  <c:v>41.512453137715873</c:v>
                </c:pt>
                <c:pt idx="62">
                  <c:v>43.350509258127509</c:v>
                </c:pt>
                <c:pt idx="63">
                  <c:v>45.228298384263041</c:v>
                </c:pt>
                <c:pt idx="64">
                  <c:v>47.144293240135042</c:v>
                </c:pt>
                <c:pt idx="65">
                  <c:v>49.096815099162789</c:v>
                </c:pt>
                <c:pt idx="66">
                  <c:v>51.084046531392246</c:v>
                </c:pt>
                <c:pt idx="67">
                  <c:v>53.103982006705053</c:v>
                </c:pt>
                <c:pt idx="68">
                  <c:v>55.154442619908679</c:v>
                </c:pt>
                <c:pt idx="69">
                  <c:v>57.233084776223095</c:v>
                </c:pt>
                <c:pt idx="70">
                  <c:v>59.337412158768601</c:v>
                </c:pt>
                <c:pt idx="71">
                  <c:v>61.464784802145537</c:v>
                </c:pt>
                <c:pt idx="72">
                  <c:v>63.612455609720278</c:v>
                </c:pt>
                <c:pt idx="73">
                  <c:v>65.777585758117624</c:v>
                </c:pt>
                <c:pt idx="74">
                  <c:v>67.957252418694736</c:v>
                </c:pt>
                <c:pt idx="75">
                  <c:v>70.148458432831774</c:v>
                </c:pt>
                <c:pt idx="76">
                  <c:v>72.34815136670953</c:v>
                </c:pt>
                <c:pt idx="77">
                  <c:v>74.55323738157972</c:v>
                </c:pt>
                <c:pt idx="78">
                  <c:v>76.760600857326779</c:v>
                </c:pt>
                <c:pt idx="79">
                  <c:v>78.967122727322092</c:v>
                </c:pt>
                <c:pt idx="80">
                  <c:v>81.169699597784444</c:v>
                </c:pt>
                <c:pt idx="81">
                  <c:v>83.365259874125215</c:v>
                </c:pt>
                <c:pt idx="82">
                  <c:v>85.550776442987711</c:v>
                </c:pt>
                <c:pt idx="83">
                  <c:v>87.723282600007408</c:v>
                </c:pt>
                <c:pt idx="84">
                  <c:v>89.879886376899009</c:v>
                </c:pt>
                <c:pt idx="85">
                  <c:v>92.017784344229966</c:v>
                </c:pt>
                <c:pt idx="86">
                  <c:v>94.134273904731202</c:v>
                </c:pt>
                <c:pt idx="87">
                  <c:v>96.226766013334611</c:v>
                </c:pt>
                <c:pt idx="88">
                  <c:v>98.292796366090073</c:v>
                </c:pt>
                <c:pt idx="89">
                  <c:v>100.33003401002151</c:v>
                </c:pt>
                <c:pt idx="90">
                  <c:v>102.33628819790076</c:v>
                </c:pt>
                <c:pt idx="91">
                  <c:v>104.30951553225921</c:v>
                </c:pt>
                <c:pt idx="92">
                  <c:v>106.24782516822823</c:v>
                </c:pt>
                <c:pt idx="93">
                  <c:v>108.14948287242302</c:v>
                </c:pt>
                <c:pt idx="94">
                  <c:v>110.0129136430441</c:v>
                </c:pt>
                <c:pt idx="95">
                  <c:v>111.83670375173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1</c:v>
                </c:pt>
                <c:pt idx="4">
                  <c:v>11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7</c:v>
                </c:pt>
                <c:pt idx="11">
                  <c:v>17</c:v>
                </c:pt>
                <c:pt idx="12">
                  <c:v>18</c:v>
                </c:pt>
                <c:pt idx="13">
                  <c:v>21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  <c:pt idx="18">
                  <c:v>23</c:v>
                </c:pt>
                <c:pt idx="19">
                  <c:v>27</c:v>
                </c:pt>
                <c:pt idx="20">
                  <c:v>30</c:v>
                </c:pt>
                <c:pt idx="21">
                  <c:v>33</c:v>
                </c:pt>
                <c:pt idx="22">
                  <c:v>34</c:v>
                </c:pt>
                <c:pt idx="23">
                  <c:v>36</c:v>
                </c:pt>
                <c:pt idx="24">
                  <c:v>38</c:v>
                </c:pt>
                <c:pt idx="25">
                  <c:v>42</c:v>
                </c:pt>
                <c:pt idx="26">
                  <c:v>46</c:v>
                </c:pt>
                <c:pt idx="27">
                  <c:v>47</c:v>
                </c:pt>
                <c:pt idx="28">
                  <c:v>48</c:v>
                </c:pt>
                <c:pt idx="29">
                  <c:v>51</c:v>
                </c:pt>
                <c:pt idx="30">
                  <c:v>52</c:v>
                </c:pt>
                <c:pt idx="31">
                  <c:v>61</c:v>
                </c:pt>
                <c:pt idx="32">
                  <c:v>63</c:v>
                </c:pt>
                <c:pt idx="33">
                  <c:v>65</c:v>
                </c:pt>
                <c:pt idx="34">
                  <c:v>68</c:v>
                </c:pt>
                <c:pt idx="35">
                  <c:v>73</c:v>
                </c:pt>
                <c:pt idx="36">
                  <c:v>78</c:v>
                </c:pt>
                <c:pt idx="37">
                  <c:v>79</c:v>
                </c:pt>
                <c:pt idx="38">
                  <c:v>86</c:v>
                </c:pt>
                <c:pt idx="39">
                  <c:v>90</c:v>
                </c:pt>
                <c:pt idx="40">
                  <c:v>93</c:v>
                </c:pt>
                <c:pt idx="41">
                  <c:v>97</c:v>
                </c:pt>
                <c:pt idx="42">
                  <c:v>99</c:v>
                </c:pt>
                <c:pt idx="43">
                  <c:v>103</c:v>
                </c:pt>
                <c:pt idx="44">
                  <c:v>107</c:v>
                </c:pt>
                <c:pt idx="45">
                  <c:v>112</c:v>
                </c:pt>
                <c:pt idx="46">
                  <c:v>116</c:v>
                </c:pt>
                <c:pt idx="47">
                  <c:v>124</c:v>
                </c:pt>
                <c:pt idx="48">
                  <c:v>130</c:v>
                </c:pt>
                <c:pt idx="49">
                  <c:v>135</c:v>
                </c:pt>
                <c:pt idx="50">
                  <c:v>140</c:v>
                </c:pt>
                <c:pt idx="51">
                  <c:v>147</c:v>
                </c:pt>
                <c:pt idx="52">
                  <c:v>151</c:v>
                </c:pt>
                <c:pt idx="53">
                  <c:v>160</c:v>
                </c:pt>
                <c:pt idx="54">
                  <c:v>166</c:v>
                </c:pt>
                <c:pt idx="55">
                  <c:v>169</c:v>
                </c:pt>
                <c:pt idx="56">
                  <c:v>177</c:v>
                </c:pt>
                <c:pt idx="57">
                  <c:v>185</c:v>
                </c:pt>
                <c:pt idx="58">
                  <c:v>189</c:v>
                </c:pt>
                <c:pt idx="59">
                  <c:v>195</c:v>
                </c:pt>
                <c:pt idx="60">
                  <c:v>206</c:v>
                </c:pt>
                <c:pt idx="61">
                  <c:v>212</c:v>
                </c:pt>
                <c:pt idx="62">
                  <c:v>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1.73839644728017</c:v>
                </c:pt>
                <c:pt idx="43">
                  <c:v>106.58448893152504</c:v>
                </c:pt>
                <c:pt idx="44">
                  <c:v>111.52506322644601</c:v>
                </c:pt>
                <c:pt idx="45">
                  <c:v>116.53265390285559</c:v>
                </c:pt>
                <c:pt idx="46">
                  <c:v>121.70481082791279</c:v>
                </c:pt>
                <c:pt idx="47">
                  <c:v>126.98934058325261</c:v>
                </c:pt>
                <c:pt idx="48">
                  <c:v>132.41021489674014</c:v>
                </c:pt>
                <c:pt idx="49">
                  <c:v>137.92016938756589</c:v>
                </c:pt>
                <c:pt idx="50">
                  <c:v>143.50060057129284</c:v>
                </c:pt>
                <c:pt idx="51">
                  <c:v>149.16533010214062</c:v>
                </c:pt>
                <c:pt idx="52">
                  <c:v>154.90996093056953</c:v>
                </c:pt>
                <c:pt idx="53">
                  <c:v>160.75304547514642</c:v>
                </c:pt>
                <c:pt idx="54">
                  <c:v>166.66628285631788</c:v>
                </c:pt>
                <c:pt idx="55">
                  <c:v>172.64770461999208</c:v>
                </c:pt>
                <c:pt idx="56">
                  <c:v>178.69103087206435</c:v>
                </c:pt>
                <c:pt idx="57">
                  <c:v>184.79594639492279</c:v>
                </c:pt>
                <c:pt idx="58">
                  <c:v>190.95051459188051</c:v>
                </c:pt>
                <c:pt idx="59">
                  <c:v>197.14711741143714</c:v>
                </c:pt>
                <c:pt idx="60">
                  <c:v>203.38231873976906</c:v>
                </c:pt>
                <c:pt idx="61">
                  <c:v>209.66718556319751</c:v>
                </c:pt>
                <c:pt idx="62">
                  <c:v>215.98813238245367</c:v>
                </c:pt>
                <c:pt idx="63">
                  <c:v>222.33838606506231</c:v>
                </c:pt>
                <c:pt idx="64">
                  <c:v>228.71279302727785</c:v>
                </c:pt>
                <c:pt idx="65">
                  <c:v>235.10620840633248</c:v>
                </c:pt>
                <c:pt idx="66">
                  <c:v>241.51352483809293</c:v>
                </c:pt>
                <c:pt idx="67">
                  <c:v>247.92953288398104</c:v>
                </c:pt>
                <c:pt idx="68">
                  <c:v>254.34895123369787</c:v>
                </c:pt>
                <c:pt idx="69">
                  <c:v>260.76644556970768</c:v>
                </c:pt>
                <c:pt idx="70">
                  <c:v>267.17665158196809</c:v>
                </c:pt>
                <c:pt idx="71">
                  <c:v>273.57418962506392</c:v>
                </c:pt>
                <c:pt idx="72">
                  <c:v>279.95374200297641</c:v>
                </c:pt>
                <c:pt idx="73">
                  <c:v>286.31007511869296</c:v>
                </c:pt>
                <c:pt idx="74">
                  <c:v>292.63803767349111</c:v>
                </c:pt>
                <c:pt idx="75">
                  <c:v>298.9325609115316</c:v>
                </c:pt>
                <c:pt idx="76">
                  <c:v>305.18868051498907</c:v>
                </c:pt>
                <c:pt idx="77">
                  <c:v>311.40154393421676</c:v>
                </c:pt>
                <c:pt idx="78">
                  <c:v>317.56643221525201</c:v>
                </c:pt>
                <c:pt idx="79">
                  <c:v>323.67877717000914</c:v>
                </c:pt>
                <c:pt idx="80">
                  <c:v>329.73417831422125</c:v>
                </c:pt>
                <c:pt idx="81">
                  <c:v>335.72841218363521</c:v>
                </c:pt>
                <c:pt idx="82">
                  <c:v>341.65743378394757</c:v>
                </c:pt>
                <c:pt idx="83">
                  <c:v>347.51738616361706</c:v>
                </c:pt>
                <c:pt idx="84">
                  <c:v>353.30460674207006</c:v>
                </c:pt>
                <c:pt idx="85">
                  <c:v>359.01563344635122</c:v>
                </c:pt>
                <c:pt idx="86">
                  <c:v>364.64720876336986</c:v>
                </c:pt>
                <c:pt idx="87">
                  <c:v>370.19628626380882</c:v>
                </c:pt>
                <c:pt idx="88">
                  <c:v>375.66003521732745</c:v>
                </c:pt>
                <c:pt idx="89">
                  <c:v>381.03584109199699</c:v>
                </c:pt>
                <c:pt idx="90">
                  <c:v>386.32130394608703</c:v>
                </c:pt>
                <c:pt idx="91">
                  <c:v>391.51423968689176</c:v>
                </c:pt>
                <c:pt idx="92">
                  <c:v>396.61267893092662</c:v>
                </c:pt>
                <c:pt idx="93">
                  <c:v>401.61486543846797</c:v>
                </c:pt>
                <c:pt idx="94">
                  <c:v>406.5192534341225</c:v>
                </c:pt>
                <c:pt idx="95">
                  <c:v>411.32451084019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1.80254849230336</c:v>
                </c:pt>
                <c:pt idx="43">
                  <c:v>106.74252033200935</c:v>
                </c:pt>
                <c:pt idx="44">
                  <c:v>111.81167973814874</c:v>
                </c:pt>
                <c:pt idx="45">
                  <c:v>116.98746674973546</c:v>
                </c:pt>
                <c:pt idx="46">
                  <c:v>122.37208577851951</c:v>
                </c:pt>
                <c:pt idx="47">
                  <c:v>127.91809806080374</c:v>
                </c:pt>
                <c:pt idx="48">
                  <c:v>133.65377969334844</c:v>
                </c:pt>
                <c:pt idx="49">
                  <c:v>139.53590185224203</c:v>
                </c:pt>
                <c:pt idx="50">
                  <c:v>145.54949376810566</c:v>
                </c:pt>
                <c:pt idx="51">
                  <c:v>151.71149467450431</c:v>
                </c:pt>
                <c:pt idx="52">
                  <c:v>158.02031931804964</c:v>
                </c:pt>
                <c:pt idx="53">
                  <c:v>164.49693736583089</c:v>
                </c:pt>
                <c:pt idx="54">
                  <c:v>171.1153742329455</c:v>
                </c:pt>
                <c:pt idx="55">
                  <c:v>177.87544880310026</c:v>
                </c:pt>
                <c:pt idx="56">
                  <c:v>184.77226717508731</c:v>
                </c:pt>
                <c:pt idx="57">
                  <c:v>191.80654266592876</c:v>
                </c:pt>
                <c:pt idx="58">
                  <c:v>198.96706730864389</c:v>
                </c:pt>
                <c:pt idx="59">
                  <c:v>206.24661281562243</c:v>
                </c:pt>
                <c:pt idx="60">
                  <c:v>213.64178358322812</c:v>
                </c:pt>
                <c:pt idx="61">
                  <c:v>221.16334580319679</c:v>
                </c:pt>
                <c:pt idx="62">
                  <c:v>228.79718373372873</c:v>
                </c:pt>
                <c:pt idx="63">
                  <c:v>236.53560190730593</c:v>
                </c:pt>
                <c:pt idx="64">
                  <c:v>244.37216019204618</c:v>
                </c:pt>
                <c:pt idx="65">
                  <c:v>252.30013382069478</c:v>
                </c:pt>
                <c:pt idx="66">
                  <c:v>260.31256164312782</c:v>
                </c:pt>
                <c:pt idx="67">
                  <c:v>268.40206341441507</c:v>
                </c:pt>
                <c:pt idx="68">
                  <c:v>276.56089005361309</c:v>
                </c:pt>
                <c:pt idx="69">
                  <c:v>284.78095613215601</c:v>
                </c:pt>
                <c:pt idx="70">
                  <c:v>293.05388052182934</c:v>
                </c:pt>
                <c:pt idx="71">
                  <c:v>301.37101541500249</c:v>
                </c:pt>
                <c:pt idx="72">
                  <c:v>309.72356692891833</c:v>
                </c:pt>
                <c:pt idx="73">
                  <c:v>318.10263852160665</c:v>
                </c:pt>
                <c:pt idx="74">
                  <c:v>326.49924298227302</c:v>
                </c:pt>
                <c:pt idx="75">
                  <c:v>334.9043196433571</c:v>
                </c:pt>
                <c:pt idx="76">
                  <c:v>343.30878234920829</c:v>
                </c:pt>
                <c:pt idx="77">
                  <c:v>351.70354784463439</c:v>
                </c:pt>
                <c:pt idx="78">
                  <c:v>360.07958487028486</c:v>
                </c:pt>
                <c:pt idx="79">
                  <c:v>368.4279572004765</c:v>
                </c:pt>
                <c:pt idx="80">
                  <c:v>376.73986700041553</c:v>
                </c:pt>
                <c:pt idx="81">
                  <c:v>385.00668746775966</c:v>
                </c:pt>
                <c:pt idx="82">
                  <c:v>393.21998460153242</c:v>
                </c:pt>
                <c:pt idx="83">
                  <c:v>401.37154994555084</c:v>
                </c:pt>
                <c:pt idx="84">
                  <c:v>409.45342815070649</c:v>
                </c:pt>
                <c:pt idx="85">
                  <c:v>417.45794376361442</c:v>
                </c:pt>
                <c:pt idx="86">
                  <c:v>425.3777242158547</c:v>
                </c:pt>
                <c:pt idx="87">
                  <c:v>433.20572542221731</c:v>
                </c:pt>
                <c:pt idx="88">
                  <c:v>440.93525354856553</c:v>
                </c:pt>
                <c:pt idx="89">
                  <c:v>448.55997999422652</c:v>
                </c:pt>
                <c:pt idx="90">
                  <c:v>456.07395225131881</c:v>
                </c:pt>
                <c:pt idx="91">
                  <c:v>463.47160743974121</c:v>
                </c:pt>
                <c:pt idx="92">
                  <c:v>470.74778117421386</c:v>
                </c:pt>
                <c:pt idx="93">
                  <c:v>477.89771448697337</c:v>
                </c:pt>
                <c:pt idx="94">
                  <c:v>484.91705783657795</c:v>
                </c:pt>
                <c:pt idx="95">
                  <c:v>491.8018749328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1.86706448223406</c:v>
                </c:pt>
                <c:pt idx="43">
                  <c:v>106.90189796861202</c:v>
                </c:pt>
                <c:pt idx="44">
                  <c:v>112.10170034553663</c:v>
                </c:pt>
                <c:pt idx="45">
                  <c:v>117.44939954680223</c:v>
                </c:pt>
                <c:pt idx="46">
                  <c:v>123.0525556281186</c:v>
                </c:pt>
                <c:pt idx="47">
                  <c:v>128.86929881418973</c:v>
                </c:pt>
                <c:pt idx="48">
                  <c:v>134.93312872365863</c:v>
                </c:pt>
                <c:pt idx="49">
                  <c:v>141.20586998762116</c:v>
                </c:pt>
                <c:pt idx="50">
                  <c:v>147.67728794294069</c:v>
                </c:pt>
                <c:pt idx="51">
                  <c:v>154.36861628016101</c:v>
                </c:pt>
                <c:pt idx="52">
                  <c:v>161.28231562967898</c:v>
                </c:pt>
                <c:pt idx="53">
                  <c:v>168.44304177952677</c:v>
                </c:pt>
                <c:pt idx="54">
                  <c:v>175.82843056552991</c:v>
                </c:pt>
                <c:pt idx="55">
                  <c:v>183.44136561195728</c:v>
                </c:pt>
                <c:pt idx="56">
                  <c:v>191.27959626706004</c:v>
                </c:pt>
                <c:pt idx="57">
                  <c:v>199.34607536081546</c:v>
                </c:pt>
                <c:pt idx="58">
                  <c:v>207.63147143498566</c:v>
                </c:pt>
                <c:pt idx="59">
                  <c:v>216.13000985848123</c:v>
                </c:pt>
                <c:pt idx="60">
                  <c:v>224.83928857876572</c:v>
                </c:pt>
                <c:pt idx="61">
                  <c:v>233.77059570304203</c:v>
                </c:pt>
                <c:pt idx="62">
                  <c:v>242.90995764317483</c:v>
                </c:pt>
                <c:pt idx="63">
                  <c:v>252.24926367066624</c:v>
                </c:pt>
                <c:pt idx="64">
                  <c:v>261.7811141632717</c:v>
                </c:pt>
                <c:pt idx="65">
                  <c:v>271.4973507680935</c:v>
                </c:pt>
                <c:pt idx="66">
                  <c:v>281.38911507233536</c:v>
                </c:pt>
                <c:pt idx="67">
                  <c:v>291.44660248896815</c:v>
                </c:pt>
                <c:pt idx="68">
                  <c:v>301.65912981426129</c:v>
                </c:pt>
                <c:pt idx="69">
                  <c:v>312.01517946401862</c:v>
                </c:pt>
                <c:pt idx="70">
                  <c:v>322.50245964698149</c:v>
                </c:pt>
                <c:pt idx="71">
                  <c:v>333.10795152317382</c:v>
                </c:pt>
                <c:pt idx="72">
                  <c:v>343.81808624639336</c:v>
                </c:pt>
                <c:pt idx="73">
                  <c:v>354.61882018079365</c:v>
                </c:pt>
                <c:pt idx="74">
                  <c:v>365.49567207750778</c:v>
                </c:pt>
                <c:pt idx="75">
                  <c:v>376.43377174152749</c:v>
                </c:pt>
                <c:pt idx="76">
                  <c:v>387.41795271976326</c:v>
                </c:pt>
                <c:pt idx="77">
                  <c:v>398.43282102131758</c:v>
                </c:pt>
                <c:pt idx="78">
                  <c:v>409.46285373240806</c:v>
                </c:pt>
                <c:pt idx="79">
                  <c:v>420.49249100407468</c:v>
                </c:pt>
                <c:pt idx="80">
                  <c:v>431.5062300305496</c:v>
                </c:pt>
                <c:pt idx="81">
                  <c:v>442.48870503318636</c:v>
                </c:pt>
                <c:pt idx="82">
                  <c:v>453.42475291475449</c:v>
                </c:pt>
                <c:pt idx="83">
                  <c:v>464.2994932629403</c:v>
                </c:pt>
                <c:pt idx="84">
                  <c:v>475.09840031959521</c:v>
                </c:pt>
                <c:pt idx="85">
                  <c:v>485.80737271905724</c:v>
                </c:pt>
                <c:pt idx="86">
                  <c:v>496.41279628444778</c:v>
                </c:pt>
                <c:pt idx="87">
                  <c:v>506.90160829489139</c:v>
                </c:pt>
                <c:pt idx="88">
                  <c:v>517.26135407284778</c:v>
                </c:pt>
                <c:pt idx="89">
                  <c:v>527.48023184947226</c:v>
                </c:pt>
                <c:pt idx="90">
                  <c:v>537.5471292232952</c:v>
                </c:pt>
                <c:pt idx="91">
                  <c:v>547.45166016074222</c:v>
                </c:pt>
                <c:pt idx="92">
                  <c:v>557.18419258793983</c:v>
                </c:pt>
                <c:pt idx="93">
                  <c:v>566.73587021868434</c:v>
                </c:pt>
                <c:pt idx="94">
                  <c:v>576.09862731908356</c:v>
                </c:pt>
                <c:pt idx="95">
                  <c:v>585.26520019293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1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7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21</c:v>
                </c:pt>
                <c:pt idx="32">
                  <c:v>21</c:v>
                </c:pt>
                <c:pt idx="33">
                  <c:v>21</c:v>
                </c:pt>
                <c:pt idx="34">
                  <c:v>22</c:v>
                </c:pt>
                <c:pt idx="35">
                  <c:v>22</c:v>
                </c:pt>
                <c:pt idx="36">
                  <c:v>24</c:v>
                </c:pt>
                <c:pt idx="37">
                  <c:v>25</c:v>
                </c:pt>
                <c:pt idx="38">
                  <c:v>28</c:v>
                </c:pt>
                <c:pt idx="39">
                  <c:v>28</c:v>
                </c:pt>
                <c:pt idx="40">
                  <c:v>29</c:v>
                </c:pt>
                <c:pt idx="41">
                  <c:v>29</c:v>
                </c:pt>
                <c:pt idx="42">
                  <c:v>34</c:v>
                </c:pt>
                <c:pt idx="43">
                  <c:v>36</c:v>
                </c:pt>
                <c:pt idx="44">
                  <c:v>39</c:v>
                </c:pt>
                <c:pt idx="45">
                  <c:v>44</c:v>
                </c:pt>
                <c:pt idx="46">
                  <c:v>45</c:v>
                </c:pt>
                <c:pt idx="47">
                  <c:v>49</c:v>
                </c:pt>
                <c:pt idx="48">
                  <c:v>54</c:v>
                </c:pt>
                <c:pt idx="49">
                  <c:v>59</c:v>
                </c:pt>
                <c:pt idx="50">
                  <c:v>62</c:v>
                </c:pt>
                <c:pt idx="51">
                  <c:v>66</c:v>
                </c:pt>
                <c:pt idx="52">
                  <c:v>73</c:v>
                </c:pt>
                <c:pt idx="53">
                  <c:v>77</c:v>
                </c:pt>
                <c:pt idx="54">
                  <c:v>79</c:v>
                </c:pt>
                <c:pt idx="55">
                  <c:v>85</c:v>
                </c:pt>
                <c:pt idx="56">
                  <c:v>91</c:v>
                </c:pt>
                <c:pt idx="57">
                  <c:v>92</c:v>
                </c:pt>
                <c:pt idx="58">
                  <c:v>96</c:v>
                </c:pt>
                <c:pt idx="59">
                  <c:v>104</c:v>
                </c:pt>
                <c:pt idx="60">
                  <c:v>109</c:v>
                </c:pt>
                <c:pt idx="61">
                  <c:v>117</c:v>
                </c:pt>
                <c:pt idx="62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716107537804739</c:v>
                </c:pt>
                <c:pt idx="43">
                  <c:v>36.517491062282367</c:v>
                </c:pt>
                <c:pt idx="44">
                  <c:v>40.393565313085929</c:v>
                </c:pt>
                <c:pt idx="45">
                  <c:v>44.322699427289464</c:v>
                </c:pt>
                <c:pt idx="46">
                  <c:v>48.381813144409826</c:v>
                </c:pt>
                <c:pt idx="47">
                  <c:v>52.529599859885558</c:v>
                </c:pt>
                <c:pt idx="48">
                  <c:v>56.784092392368962</c:v>
                </c:pt>
                <c:pt idx="49">
                  <c:v>61.108677054011018</c:v>
                </c:pt>
                <c:pt idx="50">
                  <c:v>65.489135101149046</c:v>
                </c:pt>
                <c:pt idx="51">
                  <c:v>69.935648655559334</c:v>
                </c:pt>
                <c:pt idx="52">
                  <c:v>74.44428921755059</c:v>
                </c:pt>
                <c:pt idx="53">
                  <c:v>79.030432133787315</c:v>
                </c:pt>
                <c:pt idx="54">
                  <c:v>83.672046748462591</c:v>
                </c:pt>
                <c:pt idx="55">
                  <c:v>88.367133088562397</c:v>
                </c:pt>
                <c:pt idx="56">
                  <c:v>93.110586791584097</c:v>
                </c:pt>
                <c:pt idx="57">
                  <c:v>97.902077428954044</c:v>
                </c:pt>
                <c:pt idx="58">
                  <c:v>102.73244998431711</c:v>
                </c:pt>
                <c:pt idx="59">
                  <c:v>107.59553295640221</c:v>
                </c:pt>
                <c:pt idx="60">
                  <c:v>112.4886468972649</c:v>
                </c:pt>
                <c:pt idx="61">
                  <c:v>117.42076211464459</c:v>
                </c:pt>
                <c:pt idx="62">
                  <c:v>122.38105569289945</c:v>
                </c:pt>
                <c:pt idx="63">
                  <c:v>127.36417811882775</c:v>
                </c:pt>
                <c:pt idx="64">
                  <c:v>132.36608288991317</c:v>
                </c:pt>
                <c:pt idx="65">
                  <c:v>137.38273070641281</c:v>
                </c:pt>
                <c:pt idx="66">
                  <c:v>142.41011224741038</c:v>
                </c:pt>
                <c:pt idx="67">
                  <c:v>147.4441385749422</c:v>
                </c:pt>
                <c:pt idx="68">
                  <c:v>152.48066514812763</c:v>
                </c:pt>
                <c:pt idx="69">
                  <c:v>157.5155064543423</c:v>
                </c:pt>
                <c:pt idx="70">
                  <c:v>162.5444539295554</c:v>
                </c:pt>
                <c:pt idx="71">
                  <c:v>167.5632872472211</c:v>
                </c:pt>
                <c:pt idx="72">
                  <c:v>172.56783520636816</c:v>
                </c:pt>
                <c:pt idx="73">
                  <c:v>177.55399314809227</c:v>
                </c:pt>
                <c:pt idx="74">
                  <c:v>182.51772156455687</c:v>
                </c:pt>
                <c:pt idx="75">
                  <c:v>187.45504617369531</c:v>
                </c:pt>
                <c:pt idx="76">
                  <c:v>192.36207520167667</c:v>
                </c:pt>
                <c:pt idx="77">
                  <c:v>197.23500511212188</c:v>
                </c:pt>
                <c:pt idx="78">
                  <c:v>202.07013763027976</c:v>
                </c:pt>
                <c:pt idx="79">
                  <c:v>206.86389313917994</c:v>
                </c:pt>
                <c:pt idx="80">
                  <c:v>211.6128240432692</c:v>
                </c:pt>
                <c:pt idx="81">
                  <c:v>216.31362210586795</c:v>
                </c:pt>
                <c:pt idx="82">
                  <c:v>220.96311940801638</c:v>
                </c:pt>
                <c:pt idx="83">
                  <c:v>225.55829582754015</c:v>
                </c:pt>
                <c:pt idx="84">
                  <c:v>230.09628399649506</c:v>
                </c:pt>
                <c:pt idx="85">
                  <c:v>234.57437409134042</c:v>
                </c:pt>
                <c:pt idx="86">
                  <c:v>238.99001695754498</c:v>
                </c:pt>
                <c:pt idx="87">
                  <c:v>243.3408292268474</c:v>
                </c:pt>
                <c:pt idx="88">
                  <c:v>247.62459695201613</c:v>
                </c:pt>
                <c:pt idx="89">
                  <c:v>251.83927593387477</c:v>
                </c:pt>
                <c:pt idx="90">
                  <c:v>255.98299037459861</c:v>
                </c:pt>
                <c:pt idx="91">
                  <c:v>260.05403385245438</c:v>
                </c:pt>
                <c:pt idx="92">
                  <c:v>264.05086839776334</c:v>
                </c:pt>
                <c:pt idx="93">
                  <c:v>267.97212324080226</c:v>
                </c:pt>
                <c:pt idx="94">
                  <c:v>271.81659267769464</c:v>
                </c:pt>
                <c:pt idx="95">
                  <c:v>275.5832386968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766667164400069</c:v>
                </c:pt>
                <c:pt idx="43">
                  <c:v>36.642031075742501</c:v>
                </c:pt>
                <c:pt idx="44">
                  <c:v>40.619420083179321</c:v>
                </c:pt>
                <c:pt idx="45">
                  <c:v>44.681058140012816</c:v>
                </c:pt>
                <c:pt idx="46">
                  <c:v>48.907521844671543</c:v>
                </c:pt>
                <c:pt idx="47">
                  <c:v>53.261239452805469</c:v>
                </c:pt>
                <c:pt idx="48">
                  <c:v>57.763618796559939</c:v>
                </c:pt>
                <c:pt idx="49">
                  <c:v>62.381207322711631</c:v>
                </c:pt>
                <c:pt idx="50">
                  <c:v>67.102631539540084</c:v>
                </c:pt>
                <c:pt idx="51">
                  <c:v>71.940514253350841</c:v>
                </c:pt>
                <c:pt idx="52">
                  <c:v>76.893125148241751</c:v>
                </c:pt>
                <c:pt idx="53">
                  <c:v>81.977724215329161</c:v>
                </c:pt>
                <c:pt idx="54">
                  <c:v>87.174098044660212</c:v>
                </c:pt>
                <c:pt idx="55">
                  <c:v>92.481639358793416</c:v>
                </c:pt>
                <c:pt idx="56">
                  <c:v>97.896319416883401</c:v>
                </c:pt>
                <c:pt idx="57">
                  <c:v>103.41860176429972</c:v>
                </c:pt>
                <c:pt idx="58">
                  <c:v>109.03988967296516</c:v>
                </c:pt>
                <c:pt idx="59">
                  <c:v>114.75430463528465</c:v>
                </c:pt>
                <c:pt idx="60">
                  <c:v>120.55918645385741</c:v>
                </c:pt>
                <c:pt idx="61">
                  <c:v>126.46325719632351</c:v>
                </c:pt>
                <c:pt idx="62">
                  <c:v>132.45526806454717</c:v>
                </c:pt>
                <c:pt idx="63">
                  <c:v>138.52913524356714</c:v>
                </c:pt>
                <c:pt idx="64">
                  <c:v>144.67979180803286</c:v>
                </c:pt>
                <c:pt idx="65">
                  <c:v>150.90194806759686</c:v>
                </c:pt>
                <c:pt idx="66">
                  <c:v>157.1901298242999</c:v>
                </c:pt>
                <c:pt idx="67">
                  <c:v>163.53853492149037</c:v>
                </c:pt>
                <c:pt idx="68">
                  <c:v>169.94107318428979</c:v>
                </c:pt>
                <c:pt idx="69">
                  <c:v>176.3913917250741</c:v>
                </c:pt>
                <c:pt idx="70">
                  <c:v>182.88290669370144</c:v>
                </c:pt>
                <c:pt idx="71">
                  <c:v>189.40882577514472</c:v>
                </c:pt>
                <c:pt idx="72">
                  <c:v>195.96224323428262</c:v>
                </c:pt>
                <c:pt idx="73">
                  <c:v>202.53617406449234</c:v>
                </c:pt>
                <c:pt idx="74">
                  <c:v>209.12356345376472</c:v>
                </c:pt>
                <c:pt idx="75">
                  <c:v>215.71730016593136</c:v>
                </c:pt>
                <c:pt idx="76">
                  <c:v>222.3102543501374</c:v>
                </c:pt>
                <c:pt idx="77">
                  <c:v>228.89529980492878</c:v>
                </c:pt>
                <c:pt idx="78">
                  <c:v>235.46535237551586</c:v>
                </c:pt>
                <c:pt idx="79">
                  <c:v>242.01340363015242</c:v>
                </c:pt>
                <c:pt idx="80">
                  <c:v>248.53255499240026</c:v>
                </c:pt>
                <c:pt idx="81">
                  <c:v>255.01604338784867</c:v>
                </c:pt>
                <c:pt idx="82">
                  <c:v>261.45725807476384</c:v>
                </c:pt>
                <c:pt idx="83">
                  <c:v>267.84976628543279</c:v>
                </c:pt>
                <c:pt idx="84">
                  <c:v>274.1873348237757</c:v>
                </c:pt>
                <c:pt idx="85">
                  <c:v>280.46395102762921</c:v>
                </c:pt>
                <c:pt idx="86">
                  <c:v>286.67384070133511</c:v>
                </c:pt>
                <c:pt idx="87">
                  <c:v>292.81148816947632</c:v>
                </c:pt>
                <c:pt idx="88">
                  <c:v>298.871653339418</c:v>
                </c:pt>
                <c:pt idx="89">
                  <c:v>304.84938332879801</c:v>
                </c:pt>
                <c:pt idx="90">
                  <c:v>310.7400208277179</c:v>
                </c:pt>
                <c:pt idx="91">
                  <c:v>316.5392146572413</c:v>
                </c:pt>
                <c:pt idx="92">
                  <c:v>322.2429266401399</c:v>
                </c:pt>
                <c:pt idx="93">
                  <c:v>327.84743695323658</c:v>
                </c:pt>
                <c:pt idx="94">
                  <c:v>333.34934718187856</c:v>
                </c:pt>
                <c:pt idx="95">
                  <c:v>338.74558326888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817513598307578</c:v>
                </c:pt>
                <c:pt idx="43">
                  <c:v>36.767632016270014</c:v>
                </c:pt>
                <c:pt idx="44">
                  <c:v>40.847957486009811</c:v>
                </c:pt>
                <c:pt idx="45">
                  <c:v>45.045027600799713</c:v>
                </c:pt>
                <c:pt idx="46">
                  <c:v>49.443627933534785</c:v>
                </c:pt>
                <c:pt idx="47">
                  <c:v>54.010562644378254</c:v>
                </c:pt>
                <c:pt idx="48">
                  <c:v>58.771337871624716</c:v>
                </c:pt>
                <c:pt idx="49">
                  <c:v>63.696462913721788</c:v>
                </c:pt>
                <c:pt idx="50">
                  <c:v>68.778277137111104</c:v>
                </c:pt>
                <c:pt idx="51">
                  <c:v>74.032769006022193</c:v>
                </c:pt>
                <c:pt idx="52">
                  <c:v>79.461375895301245</c:v>
                </c:pt>
                <c:pt idx="53">
                  <c:v>85.08423882515585</c:v>
                </c:pt>
                <c:pt idx="54">
                  <c:v>90.883969507469772</c:v>
                </c:pt>
                <c:pt idx="55">
                  <c:v>96.86235538221392</c:v>
                </c:pt>
                <c:pt idx="56">
                  <c:v>103.01742900630239</c:v>
                </c:pt>
                <c:pt idx="57">
                  <c:v>109.35139666045237</c:v>
                </c:pt>
                <c:pt idx="58">
                  <c:v>115.85711857098848</c:v>
                </c:pt>
                <c:pt idx="59">
                  <c:v>122.52984138566394</c:v>
                </c:pt>
                <c:pt idx="60">
                  <c:v>129.36766870392012</c:v>
                </c:pt>
                <c:pt idx="61">
                  <c:v>136.37971603961654</c:v>
                </c:pt>
                <c:pt idx="62">
                  <c:v>143.55483188743597</c:v>
                </c:pt>
                <c:pt idx="63">
                  <c:v>150.88659107021948</c:v>
                </c:pt>
                <c:pt idx="64">
                  <c:v>158.36915746652343</c:v>
                </c:pt>
                <c:pt idx="65">
                  <c:v>165.9961000748585</c:v>
                </c:pt>
                <c:pt idx="66">
                  <c:v>173.76043972521171</c:v>
                </c:pt>
                <c:pt idx="67">
                  <c:v>181.65445592883583</c:v>
                </c:pt>
                <c:pt idx="68">
                  <c:v>189.66974069740053</c:v>
                </c:pt>
                <c:pt idx="69">
                  <c:v>197.79723312706716</c:v>
                </c:pt>
                <c:pt idx="70">
                  <c:v>206.0272665472018</c:v>
                </c:pt>
                <c:pt idx="71">
                  <c:v>214.34960526156536</c:v>
                </c:pt>
                <c:pt idx="72">
                  <c:v>222.7535841661018</c:v>
                </c:pt>
                <c:pt idx="73">
                  <c:v>231.22816799020214</c:v>
                </c:pt>
                <c:pt idx="74">
                  <c:v>239.76198065121716</c:v>
                </c:pt>
                <c:pt idx="75">
                  <c:v>248.34334338469651</c:v>
                </c:pt>
                <c:pt idx="76">
                  <c:v>256.96034779582402</c:v>
                </c:pt>
                <c:pt idx="77">
                  <c:v>265.60090984428973</c:v>
                </c:pt>
                <c:pt idx="78">
                  <c:v>274.25284712109624</c:v>
                </c:pt>
                <c:pt idx="79">
                  <c:v>282.9039509527596</c:v>
                </c:pt>
                <c:pt idx="80">
                  <c:v>291.54206033197249</c:v>
                </c:pt>
                <c:pt idx="81">
                  <c:v>300.15512473901055</c:v>
                </c:pt>
                <c:pt idx="82">
                  <c:v>308.7312553272838</c:v>
                </c:pt>
                <c:pt idx="83">
                  <c:v>317.25878762112342</c:v>
                </c:pt>
                <c:pt idx="84">
                  <c:v>325.72633791643358</c:v>
                </c:pt>
                <c:pt idx="85">
                  <c:v>334.12285787797924</c:v>
                </c:pt>
                <c:pt idx="86">
                  <c:v>342.43768360887003</c:v>
                </c:pt>
                <c:pt idx="87">
                  <c:v>350.66058596466922</c:v>
                </c:pt>
                <c:pt idx="88">
                  <c:v>358.7818148473948</c:v>
                </c:pt>
                <c:pt idx="89">
                  <c:v>366.79213414477135</c:v>
                </c:pt>
                <c:pt idx="90">
                  <c:v>374.68285002539744</c:v>
                </c:pt>
                <c:pt idx="91">
                  <c:v>382.44583978301114</c:v>
                </c:pt>
                <c:pt idx="92">
                  <c:v>390.07357326058838</c:v>
                </c:pt>
                <c:pt idx="93">
                  <c:v>397.55912975983125</c:v>
                </c:pt>
                <c:pt idx="94">
                  <c:v>404.89620939286868</c:v>
                </c:pt>
                <c:pt idx="95">
                  <c:v>412.079141915247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8</c:v>
                </c:pt>
                <c:pt idx="17">
                  <c:v>9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3</c:v>
                </c:pt>
                <c:pt idx="23">
                  <c:v>13</c:v>
                </c:pt>
                <c:pt idx="24">
                  <c:v>14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  <c:pt idx="28">
                  <c:v>16</c:v>
                </c:pt>
                <c:pt idx="29">
                  <c:v>19</c:v>
                </c:pt>
                <c:pt idx="30">
                  <c:v>21</c:v>
                </c:pt>
                <c:pt idx="31">
                  <c:v>26</c:v>
                </c:pt>
                <c:pt idx="32">
                  <c:v>31</c:v>
                </c:pt>
                <c:pt idx="33">
                  <c:v>32</c:v>
                </c:pt>
                <c:pt idx="34">
                  <c:v>36</c:v>
                </c:pt>
                <c:pt idx="35">
                  <c:v>38</c:v>
                </c:pt>
                <c:pt idx="36">
                  <c:v>40</c:v>
                </c:pt>
                <c:pt idx="37">
                  <c:v>40</c:v>
                </c:pt>
                <c:pt idx="38">
                  <c:v>46</c:v>
                </c:pt>
                <c:pt idx="39">
                  <c:v>46</c:v>
                </c:pt>
                <c:pt idx="40">
                  <c:v>47</c:v>
                </c:pt>
                <c:pt idx="41">
                  <c:v>51</c:v>
                </c:pt>
                <c:pt idx="42">
                  <c:v>53</c:v>
                </c:pt>
                <c:pt idx="43">
                  <c:v>56</c:v>
                </c:pt>
                <c:pt idx="44">
                  <c:v>56</c:v>
                </c:pt>
                <c:pt idx="45">
                  <c:v>59</c:v>
                </c:pt>
                <c:pt idx="46">
                  <c:v>64</c:v>
                </c:pt>
                <c:pt idx="47">
                  <c:v>69</c:v>
                </c:pt>
                <c:pt idx="48">
                  <c:v>74</c:v>
                </c:pt>
                <c:pt idx="49">
                  <c:v>82</c:v>
                </c:pt>
                <c:pt idx="50">
                  <c:v>86</c:v>
                </c:pt>
                <c:pt idx="51">
                  <c:v>90</c:v>
                </c:pt>
                <c:pt idx="52">
                  <c:v>95</c:v>
                </c:pt>
                <c:pt idx="53">
                  <c:v>102</c:v>
                </c:pt>
                <c:pt idx="54">
                  <c:v>109</c:v>
                </c:pt>
                <c:pt idx="55">
                  <c:v>115</c:v>
                </c:pt>
                <c:pt idx="56">
                  <c:v>118</c:v>
                </c:pt>
                <c:pt idx="57">
                  <c:v>122</c:v>
                </c:pt>
                <c:pt idx="58">
                  <c:v>131</c:v>
                </c:pt>
                <c:pt idx="59">
                  <c:v>136</c:v>
                </c:pt>
                <c:pt idx="60">
                  <c:v>141</c:v>
                </c:pt>
                <c:pt idx="61">
                  <c:v>143</c:v>
                </c:pt>
                <c:pt idx="62">
                  <c:v>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4.954940455942037</c:v>
                </c:pt>
                <c:pt idx="43">
                  <c:v>58.997739973880641</c:v>
                </c:pt>
                <c:pt idx="44">
                  <c:v>63.117922160001072</c:v>
                </c:pt>
                <c:pt idx="45">
                  <c:v>67.292789453116114</c:v>
                </c:pt>
                <c:pt idx="46">
                  <c:v>71.602726588907188</c:v>
                </c:pt>
                <c:pt idx="47">
                  <c:v>76.005100946955238</c:v>
                </c:pt>
                <c:pt idx="48">
                  <c:v>80.521831923064681</c:v>
                </c:pt>
                <c:pt idx="49">
                  <c:v>85.112339803333455</c:v>
                </c:pt>
                <c:pt idx="50">
                  <c:v>89.760172426799528</c:v>
                </c:pt>
                <c:pt idx="51">
                  <c:v>94.478504434404257</c:v>
                </c:pt>
                <c:pt idx="52">
                  <c:v>99.264861915804957</c:v>
                </c:pt>
                <c:pt idx="53">
                  <c:v>104.13267303737246</c:v>
                </c:pt>
                <c:pt idx="54">
                  <c:v>109.05790658030531</c:v>
                </c:pt>
                <c:pt idx="55">
                  <c:v>114.04005615967391</c:v>
                </c:pt>
                <c:pt idx="56">
                  <c:v>119.07432699678138</c:v>
                </c:pt>
                <c:pt idx="57">
                  <c:v>124.1606633239906</c:v>
                </c:pt>
                <c:pt idx="58">
                  <c:v>129.2885881581453</c:v>
                </c:pt>
                <c:pt idx="59">
                  <c:v>134.45223387308545</c:v>
                </c:pt>
                <c:pt idx="60">
                  <c:v>139.64869427314176</c:v>
                </c:pt>
                <c:pt idx="61">
                  <c:v>144.88648155917332</c:v>
                </c:pt>
                <c:pt idx="62">
                  <c:v>150.15467611733271</c:v>
                </c:pt>
                <c:pt idx="63">
                  <c:v>155.4477185139514</c:v>
                </c:pt>
                <c:pt idx="64">
                  <c:v>160.76131918462545</c:v>
                </c:pt>
                <c:pt idx="65">
                  <c:v>166.09119493882432</c:v>
                </c:pt>
                <c:pt idx="66">
                  <c:v>171.43309246353374</c:v>
                </c:pt>
                <c:pt idx="67">
                  <c:v>176.78267216404532</c:v>
                </c:pt>
                <c:pt idx="68">
                  <c:v>182.13553255691946</c:v>
                </c:pt>
                <c:pt idx="69">
                  <c:v>187.48722642242339</c:v>
                </c:pt>
                <c:pt idx="70">
                  <c:v>192.83328033551018</c:v>
                </c:pt>
                <c:pt idx="71">
                  <c:v>198.16920741281598</c:v>
                </c:pt>
                <c:pt idx="72">
                  <c:v>203.4905711284342</c:v>
                </c:pt>
                <c:pt idx="73">
                  <c:v>208.79300368773684</c:v>
                </c:pt>
                <c:pt idx="74">
                  <c:v>214.07220447152491</c:v>
                </c:pt>
                <c:pt idx="75">
                  <c:v>219.32394053197868</c:v>
                </c:pt>
                <c:pt idx="76">
                  <c:v>224.54406459076375</c:v>
                </c:pt>
                <c:pt idx="77">
                  <c:v>229.72852120578656</c:v>
                </c:pt>
                <c:pt idx="78">
                  <c:v>234.87336522423439</c:v>
                </c:pt>
                <c:pt idx="79">
                  <c:v>239.97477628732582</c:v>
                </c:pt>
                <c:pt idx="80">
                  <c:v>245.02907276842629</c:v>
                </c:pt>
                <c:pt idx="81">
                  <c:v>250.0327194711746</c:v>
                </c:pt>
                <c:pt idx="82">
                  <c:v>254.98232928383587</c:v>
                </c:pt>
                <c:pt idx="83">
                  <c:v>259.87467124021498</c:v>
                </c:pt>
                <c:pt idx="84">
                  <c:v>264.70667581519047</c:v>
                </c:pt>
                <c:pt idx="85">
                  <c:v>269.47544010282837</c:v>
                </c:pt>
                <c:pt idx="86">
                  <c:v>274.1782313316279</c:v>
                </c:pt>
                <c:pt idx="87">
                  <c:v>278.81249230761853</c:v>
                </c:pt>
                <c:pt idx="88">
                  <c:v>283.37584522843872</c:v>
                </c:pt>
                <c:pt idx="89">
                  <c:v>287.86609226128655</c:v>
                </c:pt>
                <c:pt idx="90">
                  <c:v>292.28121441351715</c:v>
                </c:pt>
                <c:pt idx="91">
                  <c:v>296.61937261447497</c:v>
                </c:pt>
                <c:pt idx="92">
                  <c:v>300.87890683924229</c:v>
                </c:pt>
                <c:pt idx="93">
                  <c:v>305.05833486275776</c:v>
                </c:pt>
                <c:pt idx="94">
                  <c:v>309.15635010501097</c:v>
                </c:pt>
                <c:pt idx="95">
                  <c:v>313.17182410383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5.00786731751775</c:v>
                </c:pt>
                <c:pt idx="43">
                  <c:v>59.12813927426761</c:v>
                </c:pt>
                <c:pt idx="44">
                  <c:v>63.354471748287992</c:v>
                </c:pt>
                <c:pt idx="45">
                  <c:v>67.668242427573247</c:v>
                </c:pt>
                <c:pt idx="46">
                  <c:v>72.153704775089864</c:v>
                </c:pt>
                <c:pt idx="47">
                  <c:v>76.77217972713737</c:v>
                </c:pt>
                <c:pt idx="48">
                  <c:v>81.549181114593694</c:v>
                </c:pt>
                <c:pt idx="49">
                  <c:v>86.447506921096164</c:v>
                </c:pt>
                <c:pt idx="50">
                  <c:v>91.453746329120477</c:v>
                </c:pt>
                <c:pt idx="51">
                  <c:v>96.583686781126474</c:v>
                </c:pt>
                <c:pt idx="52">
                  <c:v>101.83721864328464</c:v>
                </c:pt>
                <c:pt idx="53">
                  <c:v>107.22981529509687</c:v>
                </c:pt>
                <c:pt idx="54">
                  <c:v>112.73940501831741</c:v>
                </c:pt>
                <c:pt idx="55">
                  <c:v>118.36699574559418</c:v>
                </c:pt>
                <c:pt idx="56">
                  <c:v>124.10897780389389</c:v>
                </c:pt>
                <c:pt idx="57">
                  <c:v>129.96618543850599</c:v>
                </c:pt>
                <c:pt idx="58">
                  <c:v>135.92878256688792</c:v>
                </c:pt>
                <c:pt idx="59">
                  <c:v>141.99125847451208</c:v>
                </c:pt>
                <c:pt idx="60">
                  <c:v>148.15077196990558</c:v>
                </c:pt>
                <c:pt idx="61">
                  <c:v>154.41561493921694</c:v>
                </c:pt>
                <c:pt idx="62">
                  <c:v>160.77445020524016</c:v>
                </c:pt>
                <c:pt idx="63">
                  <c:v>167.22097579754291</c:v>
                </c:pt>
                <c:pt idx="64">
                  <c:v>173.74985683094968</c:v>
                </c:pt>
                <c:pt idx="65">
                  <c:v>180.35551969729613</c:v>
                </c:pt>
                <c:pt idx="66">
                  <c:v>187.03219130543786</c:v>
                </c:pt>
                <c:pt idx="67">
                  <c:v>193.77374697408433</c:v>
                </c:pt>
                <c:pt idx="68">
                  <c:v>200.57375107321621</c:v>
                </c:pt>
                <c:pt idx="69">
                  <c:v>207.42548457348482</c:v>
                </c:pt>
                <c:pt idx="70">
                  <c:v>214.32197929256532</c:v>
                </c:pt>
                <c:pt idx="71">
                  <c:v>221.25604276890357</c:v>
                </c:pt>
                <c:pt idx="72">
                  <c:v>228.22035777808526</c:v>
                </c:pt>
                <c:pt idx="73">
                  <c:v>235.20751832243084</c:v>
                </c:pt>
                <c:pt idx="74">
                  <c:v>242.21003948290183</c:v>
                </c:pt>
                <c:pt idx="75">
                  <c:v>249.22037207778411</c:v>
                </c:pt>
                <c:pt idx="76">
                  <c:v>256.23094222716446</c:v>
                </c:pt>
                <c:pt idx="77">
                  <c:v>263.23417504704378</c:v>
                </c:pt>
                <c:pt idx="78">
                  <c:v>270.22253589128081</c:v>
                </c:pt>
                <c:pt idx="79">
                  <c:v>277.18856646334916</c:v>
                </c:pt>
                <c:pt idx="80">
                  <c:v>284.12492068295029</c:v>
                </c:pt>
                <c:pt idx="81">
                  <c:v>291.02439181237003</c:v>
                </c:pt>
                <c:pt idx="82">
                  <c:v>297.8799312282905</c:v>
                </c:pt>
                <c:pt idx="83">
                  <c:v>304.68467584560096</c:v>
                </c:pt>
                <c:pt idx="84">
                  <c:v>311.43197116787769</c:v>
                </c:pt>
                <c:pt idx="85">
                  <c:v>318.11539376341449</c:v>
                </c:pt>
                <c:pt idx="86">
                  <c:v>324.72877069460009</c:v>
                </c:pt>
                <c:pt idx="87">
                  <c:v>331.26620093800238</c:v>
                </c:pt>
                <c:pt idx="88">
                  <c:v>337.7220735755073</c:v>
                </c:pt>
                <c:pt idx="89">
                  <c:v>344.09108060472391</c:v>
                </c:pt>
                <c:pt idx="90">
                  <c:v>350.36822638719224</c:v>
                </c:pt>
                <c:pt idx="91">
                  <c:v>356.5488390859233</c:v>
                </c:pt>
                <c:pt idx="92">
                  <c:v>362.62857827380259</c:v>
                </c:pt>
                <c:pt idx="93">
                  <c:v>368.60344090303971</c:v>
                </c:pt>
                <c:pt idx="94">
                  <c:v>374.46976487400616</c:v>
                </c:pt>
                <c:pt idx="95">
                  <c:v>380.22423235438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5.061094505532076</c:v>
                </c:pt>
                <c:pt idx="43">
                  <c:v>59.259649426222502</c:v>
                </c:pt>
                <c:pt idx="44">
                  <c:v>63.593830312694834</c:v>
                </c:pt>
                <c:pt idx="45">
                  <c:v>68.049571113661784</c:v>
                </c:pt>
                <c:pt idx="46">
                  <c:v>72.715573528575504</c:v>
                </c:pt>
                <c:pt idx="47">
                  <c:v>77.557785762146707</c:v>
                </c:pt>
                <c:pt idx="48">
                  <c:v>82.606077172097315</c:v>
                </c:pt>
                <c:pt idx="49">
                  <c:v>87.827466991865322</c:v>
                </c:pt>
                <c:pt idx="50">
                  <c:v>93.21250105356927</c:v>
                </c:pt>
                <c:pt idx="51">
                  <c:v>98.780556903387975</c:v>
                </c:pt>
                <c:pt idx="52">
                  <c:v>104.53491506818281</c:v>
                </c:pt>
                <c:pt idx="53">
                  <c:v>110.49415006080639</c:v>
                </c:pt>
                <c:pt idx="54">
                  <c:v>116.63921948983872</c:v>
                </c:pt>
                <c:pt idx="55">
                  <c:v>122.97371126851363</c:v>
                </c:pt>
                <c:pt idx="56">
                  <c:v>129.49625103758547</c:v>
                </c:pt>
                <c:pt idx="57">
                  <c:v>136.20957618354697</c:v>
                </c:pt>
                <c:pt idx="58">
                  <c:v>143.10545350469727</c:v>
                </c:pt>
                <c:pt idx="59">
                  <c:v>150.17962266736777</c:v>
                </c:pt>
                <c:pt idx="60">
                  <c:v>157.43011012302003</c:v>
                </c:pt>
                <c:pt idx="61">
                  <c:v>164.86568291320975</c:v>
                </c:pt>
                <c:pt idx="62">
                  <c:v>172.47515786827</c:v>
                </c:pt>
                <c:pt idx="63">
                  <c:v>180.25192551239681</c:v>
                </c:pt>
                <c:pt idx="64">
                  <c:v>188.18989175012797</c:v>
                </c:pt>
                <c:pt idx="65">
                  <c:v>196.28232881252183</c:v>
                </c:pt>
                <c:pt idx="66">
                  <c:v>204.52192248632778</c:v>
                </c:pt>
                <c:pt idx="67">
                  <c:v>212.9005670265374</c:v>
                </c:pt>
                <c:pt idx="68">
                  <c:v>221.40941945881642</c:v>
                </c:pt>
                <c:pt idx="69">
                  <c:v>230.03893677165613</c:v>
                </c:pt>
                <c:pt idx="70">
                  <c:v>238.77892624655422</c:v>
                </c:pt>
                <c:pt idx="71">
                  <c:v>247.61858542437918</c:v>
                </c:pt>
                <c:pt idx="72">
                  <c:v>256.54664795325471</c:v>
                </c:pt>
                <c:pt idx="73">
                  <c:v>265.5514457399953</c:v>
                </c:pt>
                <c:pt idx="74">
                  <c:v>274.62093948510358</c:v>
                </c:pt>
                <c:pt idx="75">
                  <c:v>283.74275939507288</c:v>
                </c:pt>
                <c:pt idx="76">
                  <c:v>292.90428164722994</c:v>
                </c:pt>
                <c:pt idx="77">
                  <c:v>302.09268552167265</c:v>
                </c:pt>
                <c:pt idx="78">
                  <c:v>311.29503586638413</c:v>
                </c:pt>
                <c:pt idx="79">
                  <c:v>320.4983599690587</c:v>
                </c:pt>
                <c:pt idx="80">
                  <c:v>329.68972542953281</c:v>
                </c:pt>
                <c:pt idx="81">
                  <c:v>338.85630668563653</c:v>
                </c:pt>
                <c:pt idx="82">
                  <c:v>347.98544056973998</c:v>
                </c:pt>
                <c:pt idx="83">
                  <c:v>357.06469319717195</c:v>
                </c:pt>
                <c:pt idx="84">
                  <c:v>366.08192013941402</c:v>
                </c:pt>
                <c:pt idx="85">
                  <c:v>375.02532486914856</c:v>
                </c:pt>
                <c:pt idx="86">
                  <c:v>383.88351161910396</c:v>
                </c:pt>
                <c:pt idx="87">
                  <c:v>392.64553924177847</c:v>
                </c:pt>
                <c:pt idx="88">
                  <c:v>401.30096865191791</c:v>
                </c:pt>
                <c:pt idx="89">
                  <c:v>409.83990088812658</c:v>
                </c:pt>
                <c:pt idx="90">
                  <c:v>418.25300828511297</c:v>
                </c:pt>
                <c:pt idx="91">
                  <c:v>426.53156578885341</c:v>
                </c:pt>
                <c:pt idx="92">
                  <c:v>434.66747452170358</c:v>
                </c:pt>
                <c:pt idx="93">
                  <c:v>442.65328052246605</c:v>
                </c:pt>
                <c:pt idx="94">
                  <c:v>450.48218763669723</c:v>
                </c:pt>
                <c:pt idx="95">
                  <c:v>458.14806753774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8</c:v>
                </c:pt>
                <c:pt idx="35">
                  <c:v>21</c:v>
                </c:pt>
                <c:pt idx="36">
                  <c:v>23</c:v>
                </c:pt>
                <c:pt idx="37">
                  <c:v>28</c:v>
                </c:pt>
                <c:pt idx="38">
                  <c:v>30</c:v>
                </c:pt>
                <c:pt idx="39">
                  <c:v>32</c:v>
                </c:pt>
                <c:pt idx="40">
                  <c:v>35</c:v>
                </c:pt>
                <c:pt idx="41">
                  <c:v>35</c:v>
                </c:pt>
                <c:pt idx="42">
                  <c:v>38</c:v>
                </c:pt>
                <c:pt idx="43">
                  <c:v>43</c:v>
                </c:pt>
                <c:pt idx="44">
                  <c:v>47</c:v>
                </c:pt>
                <c:pt idx="45">
                  <c:v>47</c:v>
                </c:pt>
                <c:pt idx="46">
                  <c:v>49</c:v>
                </c:pt>
                <c:pt idx="47">
                  <c:v>50</c:v>
                </c:pt>
                <c:pt idx="48">
                  <c:v>53</c:v>
                </c:pt>
                <c:pt idx="49">
                  <c:v>57</c:v>
                </c:pt>
                <c:pt idx="50">
                  <c:v>60</c:v>
                </c:pt>
                <c:pt idx="51">
                  <c:v>62</c:v>
                </c:pt>
                <c:pt idx="52">
                  <c:v>66</c:v>
                </c:pt>
                <c:pt idx="53">
                  <c:v>67</c:v>
                </c:pt>
                <c:pt idx="54">
                  <c:v>69</c:v>
                </c:pt>
                <c:pt idx="55">
                  <c:v>72</c:v>
                </c:pt>
                <c:pt idx="56">
                  <c:v>73</c:v>
                </c:pt>
                <c:pt idx="57">
                  <c:v>76</c:v>
                </c:pt>
                <c:pt idx="58">
                  <c:v>82</c:v>
                </c:pt>
                <c:pt idx="59">
                  <c:v>84</c:v>
                </c:pt>
                <c:pt idx="60">
                  <c:v>88</c:v>
                </c:pt>
                <c:pt idx="61">
                  <c:v>94</c:v>
                </c:pt>
                <c:pt idx="62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.9280910336497</c:v>
                </c:pt>
                <c:pt idx="43">
                  <c:v>38.902071986405325</c:v>
                </c:pt>
                <c:pt idx="44">
                  <c:v>40.916002773054899</c:v>
                </c:pt>
                <c:pt idx="45">
                  <c:v>42.958476655002997</c:v>
                </c:pt>
                <c:pt idx="46">
                  <c:v>45.070242495920674</c:v>
                </c:pt>
                <c:pt idx="47">
                  <c:v>47.22911426416124</c:v>
                </c:pt>
                <c:pt idx="48">
                  <c:v>49.442899976084576</c:v>
                </c:pt>
                <c:pt idx="49">
                  <c:v>51.69351823785793</c:v>
                </c:pt>
                <c:pt idx="50">
                  <c:v>53.9743407237832</c:v>
                </c:pt>
                <c:pt idx="51">
                  <c:v>56.289323227287966</c:v>
                </c:pt>
                <c:pt idx="52">
                  <c:v>58.635458484712601</c:v>
                </c:pt>
                <c:pt idx="53">
                  <c:v>61.02239011877721</c:v>
                </c:pt>
                <c:pt idx="54">
                  <c:v>63.439019457813373</c:v>
                </c:pt>
                <c:pt idx="55">
                  <c:v>65.883388066193675</c:v>
                </c:pt>
                <c:pt idx="56">
                  <c:v>68.352485622294338</c:v>
                </c:pt>
                <c:pt idx="57">
                  <c:v>70.845972726068482</c:v>
                </c:pt>
                <c:pt idx="58">
                  <c:v>73.359515720490833</c:v>
                </c:pt>
                <c:pt idx="59">
                  <c:v>75.88951491242571</c:v>
                </c:pt>
                <c:pt idx="60">
                  <c:v>78.434611036969059</c:v>
                </c:pt>
                <c:pt idx="61">
                  <c:v>81.000045587979969</c:v>
                </c:pt>
                <c:pt idx="62">
                  <c:v>83.579863186901107</c:v>
                </c:pt>
                <c:pt idx="63">
                  <c:v>86.171212255641535</c:v>
                </c:pt>
                <c:pt idx="64">
                  <c:v>88.771983626088442</c:v>
                </c:pt>
                <c:pt idx="65">
                  <c:v>91.380072600532557</c:v>
                </c:pt>
                <c:pt idx="66">
                  <c:v>93.993391186848456</c:v>
                </c:pt>
                <c:pt idx="67">
                  <c:v>96.609810962352014</c:v>
                </c:pt>
                <c:pt idx="68">
                  <c:v>99.227176194482084</c:v>
                </c:pt>
                <c:pt idx="69">
                  <c:v>101.84331110239405</c:v>
                </c:pt>
                <c:pt idx="70">
                  <c:v>104.45602889438533</c:v>
                </c:pt>
                <c:pt idx="71">
                  <c:v>107.0631372092769</c:v>
                </c:pt>
                <c:pt idx="72">
                  <c:v>109.66247026744566</c:v>
                </c:pt>
                <c:pt idx="73">
                  <c:v>112.25189799928579</c:v>
                </c:pt>
                <c:pt idx="74">
                  <c:v>114.82932536632124</c:v>
                </c:pt>
                <c:pt idx="75">
                  <c:v>117.3926921635798</c:v>
                </c:pt>
                <c:pt idx="76">
                  <c:v>119.93998221081407</c:v>
                </c:pt>
                <c:pt idx="77">
                  <c:v>122.46922628573753</c:v>
                </c:pt>
                <c:pt idx="78">
                  <c:v>124.978510766968</c:v>
                </c:pt>
                <c:pt idx="79">
                  <c:v>127.46598444401918</c:v>
                </c:pt>
                <c:pt idx="80">
                  <c:v>129.92986561241281</c:v>
                </c:pt>
                <c:pt idx="81">
                  <c:v>132.36844594364811</c:v>
                </c:pt>
                <c:pt idx="82">
                  <c:v>134.78009062289027</c:v>
                </c:pt>
                <c:pt idx="83">
                  <c:v>137.1632421720337</c:v>
                </c:pt>
                <c:pt idx="84">
                  <c:v>139.51642301080233</c:v>
                </c:pt>
                <c:pt idx="85">
                  <c:v>141.83823789666206</c:v>
                </c:pt>
                <c:pt idx="86">
                  <c:v>144.1273754382658</c:v>
                </c:pt>
                <c:pt idx="87">
                  <c:v>146.38261075225824</c:v>
                </c:pt>
                <c:pt idx="88">
                  <c:v>148.60280737997397</c:v>
                </c:pt>
                <c:pt idx="89">
                  <c:v>150.78691732661267</c:v>
                </c:pt>
                <c:pt idx="90">
                  <c:v>152.93398019003234</c:v>
                </c:pt>
                <c:pt idx="91">
                  <c:v>155.0431236412611</c:v>
                </c:pt>
                <c:pt idx="92">
                  <c:v>157.11356288422991</c:v>
                </c:pt>
                <c:pt idx="93">
                  <c:v>159.14459995691743</c:v>
                </c:pt>
                <c:pt idx="94">
                  <c:v>161.13562255796847</c:v>
                </c:pt>
                <c:pt idx="95">
                  <c:v>163.08610559248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.954824506432011</c:v>
                </c:pt>
                <c:pt idx="43">
                  <c:v>38.967906660931895</c:v>
                </c:pt>
                <c:pt idx="44">
                  <c:v>41.035355596939539</c:v>
                </c:pt>
                <c:pt idx="45">
                  <c:v>43.147780139936955</c:v>
                </c:pt>
                <c:pt idx="46">
                  <c:v>45.347839647910064</c:v>
                </c:pt>
                <c:pt idx="47">
                  <c:v>47.615298024017108</c:v>
                </c:pt>
                <c:pt idx="48">
                  <c:v>49.959712974943429</c:v>
                </c:pt>
                <c:pt idx="49">
                  <c:v>52.364635646931013</c:v>
                </c:pt>
                <c:pt idx="50">
                  <c:v>54.824906455945886</c:v>
                </c:pt>
                <c:pt idx="51">
                  <c:v>57.345738878000461</c:v>
                </c:pt>
                <c:pt idx="52">
                  <c:v>59.925252084111953</c:v>
                </c:pt>
                <c:pt idx="53">
                  <c:v>62.574045150119957</c:v>
                </c:pt>
                <c:pt idx="54">
                  <c:v>65.281947824589906</c:v>
                </c:pt>
                <c:pt idx="55">
                  <c:v>68.04770603911723</c:v>
                </c:pt>
                <c:pt idx="56">
                  <c:v>70.868844649126004</c:v>
                </c:pt>
                <c:pt idx="57">
                  <c:v>73.745410656496077</c:v>
                </c:pt>
                <c:pt idx="58">
                  <c:v>76.673333544583926</c:v>
                </c:pt>
                <c:pt idx="59">
                  <c:v>79.649140046508492</c:v>
                </c:pt>
                <c:pt idx="60">
                  <c:v>82.67145561690576</c:v>
                </c:pt>
                <c:pt idx="61">
                  <c:v>85.74536804389794</c:v>
                </c:pt>
                <c:pt idx="62">
                  <c:v>88.864680722377727</c:v>
                </c:pt>
                <c:pt idx="63">
                  <c:v>92.026138970400439</c:v>
                </c:pt>
                <c:pt idx="64">
                  <c:v>95.227081083256053</c:v>
                </c:pt>
                <c:pt idx="65">
                  <c:v>98.46473070674601</c:v>
                </c:pt>
                <c:pt idx="66">
                  <c:v>101.73621752481571</c:v>
                </c:pt>
                <c:pt idx="67">
                  <c:v>105.03850251056427</c:v>
                </c:pt>
                <c:pt idx="68">
                  <c:v>108.36839970842196</c:v>
                </c:pt>
                <c:pt idx="69">
                  <c:v>111.72258901328956</c:v>
                </c:pt>
                <c:pt idx="70">
                  <c:v>115.09763238546677</c:v>
                </c:pt>
                <c:pt idx="71">
                  <c:v>118.48998499547746</c:v>
                </c:pt>
                <c:pt idx="72">
                  <c:v>121.89604546692058</c:v>
                </c:pt>
                <c:pt idx="73">
                  <c:v>125.31217379514025</c:v>
                </c:pt>
                <c:pt idx="74">
                  <c:v>128.7346963850394</c:v>
                </c:pt>
                <c:pt idx="75">
                  <c:v>132.15991275693477</c:v>
                </c:pt>
                <c:pt idx="76">
                  <c:v>135.58411554703017</c:v>
                </c:pt>
                <c:pt idx="77">
                  <c:v>139.00360205956932</c:v>
                </c:pt>
                <c:pt idx="78">
                  <c:v>142.41469397520063</c:v>
                </c:pt>
                <c:pt idx="79">
                  <c:v>145.81375467003238</c:v>
                </c:pt>
                <c:pt idx="80">
                  <c:v>149.1972071857748</c:v>
                </c:pt>
                <c:pt idx="81">
                  <c:v>152.56154763220195</c:v>
                </c:pt>
                <c:pt idx="82">
                  <c:v>155.90335343183216</c:v>
                </c:pt>
                <c:pt idx="83">
                  <c:v>159.21929654751168</c:v>
                </c:pt>
                <c:pt idx="84">
                  <c:v>162.50615465148968</c:v>
                </c:pt>
                <c:pt idx="85">
                  <c:v>165.76082190712086</c:v>
                </c:pt>
                <c:pt idx="86">
                  <c:v>168.98031807772006</c:v>
                </c:pt>
                <c:pt idx="87">
                  <c:v>172.16179888739003</c:v>
                </c:pt>
                <c:pt idx="88">
                  <c:v>175.30256485570803</c:v>
                </c:pt>
                <c:pt idx="89">
                  <c:v>178.40006708334579</c:v>
                </c:pt>
                <c:pt idx="90">
                  <c:v>181.45191127937935</c:v>
                </c:pt>
                <c:pt idx="91">
                  <c:v>184.45586312575293</c:v>
                </c:pt>
                <c:pt idx="92">
                  <c:v>187.40985167408459</c:v>
                </c:pt>
                <c:pt idx="93">
                  <c:v>190.31197196768764</c:v>
                </c:pt>
                <c:pt idx="94">
                  <c:v>193.16048644583947</c:v>
                </c:pt>
                <c:pt idx="95">
                  <c:v>195.95382637127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6.981709577541324</c:v>
                </c:pt>
                <c:pt idx="43">
                  <c:v>39.034302159533475</c:v>
                </c:pt>
                <c:pt idx="44">
                  <c:v>41.156126446141208</c:v>
                </c:pt>
                <c:pt idx="45">
                  <c:v>43.340049030233452</c:v>
                </c:pt>
                <c:pt idx="46">
                  <c:v>45.630930820003371</c:v>
                </c:pt>
                <c:pt idx="47">
                  <c:v>48.010823100419344</c:v>
                </c:pt>
                <c:pt idx="48">
                  <c:v>50.491413477416778</c:v>
                </c:pt>
                <c:pt idx="49">
                  <c:v>53.058305983550909</c:v>
                </c:pt>
                <c:pt idx="50">
                  <c:v>55.708264506758603</c:v>
                </c:pt>
                <c:pt idx="51">
                  <c:v>58.448244166110022</c:v>
                </c:pt>
                <c:pt idx="52">
                  <c:v>61.277996960529599</c:v>
                </c:pt>
                <c:pt idx="53">
                  <c:v>64.209596945373022</c:v>
                </c:pt>
                <c:pt idx="54">
                  <c:v>67.234326826655959</c:v>
                </c:pt>
                <c:pt idx="55">
                  <c:v>70.352157229661785</c:v>
                </c:pt>
                <c:pt idx="56">
                  <c:v>73.561658930415021</c:v>
                </c:pt>
                <c:pt idx="57">
                  <c:v>76.863755670256921</c:v>
                </c:pt>
                <c:pt idx="58">
                  <c:v>80.255103188730601</c:v>
                </c:pt>
                <c:pt idx="59">
                  <c:v>83.732781968202772</c:v>
                </c:pt>
                <c:pt idx="60">
                  <c:v>87.295782675556694</c:v>
                </c:pt>
                <c:pt idx="61">
                  <c:v>90.949365210554816</c:v>
                </c:pt>
                <c:pt idx="62">
                  <c:v>94.687354804926414</c:v>
                </c:pt>
                <c:pt idx="63">
                  <c:v>98.506287990873659</c:v>
                </c:pt>
                <c:pt idx="64">
                  <c:v>102.40307023948641</c:v>
                </c:pt>
                <c:pt idx="65">
                  <c:v>106.37429868843012</c:v>
                </c:pt>
                <c:pt idx="66">
                  <c:v>110.41628778832623</c:v>
                </c:pt>
                <c:pt idx="67">
                  <c:v>114.5249688169081</c:v>
                </c:pt>
                <c:pt idx="68">
                  <c:v>118.69591949197401</c:v>
                </c:pt>
                <c:pt idx="69">
                  <c:v>122.92438169648366</c:v>
                </c:pt>
                <c:pt idx="70">
                  <c:v>127.20528585567835</c:v>
                </c:pt>
                <c:pt idx="71">
                  <c:v>131.53326950980482</c:v>
                </c:pt>
                <c:pt idx="72">
                  <c:v>135.90275131141846</c:v>
                </c:pt>
                <c:pt idx="73">
                  <c:v>140.30796227182793</c:v>
                </c:pt>
                <c:pt idx="74">
                  <c:v>144.74296139240425</c:v>
                </c:pt>
                <c:pt idx="75">
                  <c:v>149.20165537372634</c:v>
                </c:pt>
                <c:pt idx="76">
                  <c:v>153.6778372455509</c:v>
                </c:pt>
                <c:pt idx="77">
                  <c:v>158.16521455976923</c:v>
                </c:pt>
                <c:pt idx="78">
                  <c:v>162.65744935936942</c:v>
                </c:pt>
                <c:pt idx="79">
                  <c:v>167.14819551369459</c:v>
                </c:pt>
                <c:pt idx="80">
                  <c:v>171.63113753676285</c:v>
                </c:pt>
                <c:pt idx="81">
                  <c:v>176.10002337101719</c:v>
                </c:pt>
                <c:pt idx="82">
                  <c:v>180.54869033101119</c:v>
                </c:pt>
                <c:pt idx="83">
                  <c:v>184.97109754253876</c:v>
                </c:pt>
                <c:pt idx="84">
                  <c:v>189.3613551221062</c:v>
                </c:pt>
                <c:pt idx="85">
                  <c:v>193.71375231225079</c:v>
                </c:pt>
                <c:pt idx="86">
                  <c:v>198.02278258026416</c:v>
                </c:pt>
                <c:pt idx="87">
                  <c:v>202.28316954644677</c:v>
                </c:pt>
                <c:pt idx="88">
                  <c:v>206.48988979465372</c:v>
                </c:pt>
                <c:pt idx="89">
                  <c:v>210.63819050271223</c:v>
                </c:pt>
                <c:pt idx="90">
                  <c:v>214.72360352242097</c:v>
                </c:pt>
                <c:pt idx="91">
                  <c:v>218.7419599950361</c:v>
                </c:pt>
                <c:pt idx="92">
                  <c:v>222.68940103338201</c:v>
                </c:pt>
                <c:pt idx="93">
                  <c:v>226.56238607308262</c:v>
                </c:pt>
                <c:pt idx="94">
                  <c:v>230.35769830312867</c:v>
                </c:pt>
                <c:pt idx="95">
                  <c:v>234.07244889672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8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7</c:v>
                </c:pt>
                <c:pt idx="32">
                  <c:v>17</c:v>
                </c:pt>
                <c:pt idx="33">
                  <c:v>18</c:v>
                </c:pt>
                <c:pt idx="34">
                  <c:v>18</c:v>
                </c:pt>
                <c:pt idx="35">
                  <c:v>20</c:v>
                </c:pt>
                <c:pt idx="36">
                  <c:v>21</c:v>
                </c:pt>
                <c:pt idx="37">
                  <c:v>23</c:v>
                </c:pt>
                <c:pt idx="38">
                  <c:v>24</c:v>
                </c:pt>
                <c:pt idx="39">
                  <c:v>25</c:v>
                </c:pt>
                <c:pt idx="40">
                  <c:v>28</c:v>
                </c:pt>
                <c:pt idx="41">
                  <c:v>31</c:v>
                </c:pt>
                <c:pt idx="42">
                  <c:v>33</c:v>
                </c:pt>
                <c:pt idx="43">
                  <c:v>33</c:v>
                </c:pt>
                <c:pt idx="44">
                  <c:v>37</c:v>
                </c:pt>
                <c:pt idx="45">
                  <c:v>40</c:v>
                </c:pt>
                <c:pt idx="46">
                  <c:v>42</c:v>
                </c:pt>
                <c:pt idx="47">
                  <c:v>44</c:v>
                </c:pt>
                <c:pt idx="48">
                  <c:v>48</c:v>
                </c:pt>
                <c:pt idx="49">
                  <c:v>53</c:v>
                </c:pt>
                <c:pt idx="50">
                  <c:v>55</c:v>
                </c:pt>
                <c:pt idx="51">
                  <c:v>57</c:v>
                </c:pt>
                <c:pt idx="52">
                  <c:v>63</c:v>
                </c:pt>
                <c:pt idx="53">
                  <c:v>69</c:v>
                </c:pt>
                <c:pt idx="54">
                  <c:v>75</c:v>
                </c:pt>
                <c:pt idx="55">
                  <c:v>79</c:v>
                </c:pt>
                <c:pt idx="56">
                  <c:v>87</c:v>
                </c:pt>
                <c:pt idx="57">
                  <c:v>90</c:v>
                </c:pt>
                <c:pt idx="58">
                  <c:v>93</c:v>
                </c:pt>
                <c:pt idx="59">
                  <c:v>100</c:v>
                </c:pt>
                <c:pt idx="60">
                  <c:v>105</c:v>
                </c:pt>
                <c:pt idx="61">
                  <c:v>109</c:v>
                </c:pt>
                <c:pt idx="62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.107729060222852</c:v>
                </c:pt>
                <c:pt idx="43">
                  <c:v>35.261812708839791</c:v>
                </c:pt>
                <c:pt idx="44">
                  <c:v>37.456795340043335</c:v>
                </c:pt>
                <c:pt idx="45">
                  <c:v>39.680632935889449</c:v>
                </c:pt>
                <c:pt idx="46">
                  <c:v>41.975926248994085</c:v>
                </c:pt>
                <c:pt idx="47">
                  <c:v>44.32016973931853</c:v>
                </c:pt>
                <c:pt idx="48">
                  <c:v>46.725486190491672</c:v>
                </c:pt>
                <c:pt idx="49">
                  <c:v>49.169988362280975</c:v>
                </c:pt>
                <c:pt idx="50">
                  <c:v>51.644694885632219</c:v>
                </c:pt>
                <c:pt idx="51">
                  <c:v>54.157005156139476</c:v>
                </c:pt>
                <c:pt idx="52">
                  <c:v>56.70587683439269</c:v>
                </c:pt>
                <c:pt idx="53">
                  <c:v>59.297991517276905</c:v>
                </c:pt>
                <c:pt idx="54">
                  <c:v>61.920447548878371</c:v>
                </c:pt>
                <c:pt idx="55">
                  <c:v>64.573237415348814</c:v>
                </c:pt>
                <c:pt idx="56">
                  <c:v>67.253908937327509</c:v>
                </c:pt>
                <c:pt idx="57">
                  <c:v>69.962480251640741</c:v>
                </c:pt>
                <c:pt idx="58">
                  <c:v>72.693249153542268</c:v>
                </c:pt>
                <c:pt idx="59">
                  <c:v>75.443201874258563</c:v>
                </c:pt>
                <c:pt idx="60">
                  <c:v>78.210780777100013</c:v>
                </c:pt>
                <c:pt idx="61">
                  <c:v>81.000354981413139</c:v>
                </c:pt>
                <c:pt idx="62">
                  <c:v>83.806201896664419</c:v>
                </c:pt>
                <c:pt idx="63">
                  <c:v>86.62538035706558</c:v>
                </c:pt>
                <c:pt idx="64">
                  <c:v>89.45560705089207</c:v>
                </c:pt>
                <c:pt idx="65">
                  <c:v>92.294601854349935</c:v>
                </c:pt>
                <c:pt idx="66">
                  <c:v>95.140100238433348</c:v>
                </c:pt>
                <c:pt idx="67">
                  <c:v>97.989791441221769</c:v>
                </c:pt>
                <c:pt idx="68">
                  <c:v>100.84133127941185</c:v>
                </c:pt>
                <c:pt idx="69">
                  <c:v>103.6923508504852</c:v>
                </c:pt>
                <c:pt idx="70">
                  <c:v>106.54046701568708</c:v>
                </c:pt>
                <c:pt idx="71">
                  <c:v>109.38328931184027</c:v>
                </c:pt>
                <c:pt idx="72">
                  <c:v>112.2184538016481</c:v>
                </c:pt>
                <c:pt idx="73">
                  <c:v>115.04363283955541</c:v>
                </c:pt>
                <c:pt idx="74">
                  <c:v>117.85653423037741</c:v>
                </c:pt>
                <c:pt idx="75">
                  <c:v>120.65490156096386</c:v>
                </c:pt>
                <c:pt idx="76">
                  <c:v>123.43652372813129</c:v>
                </c:pt>
                <c:pt idx="77">
                  <c:v>126.19923823635943</c:v>
                </c:pt>
                <c:pt idx="78">
                  <c:v>128.940941086213</c:v>
                </c:pt>
                <c:pt idx="79">
                  <c:v>131.65959454449248</c:v>
                </c:pt>
                <c:pt idx="80">
                  <c:v>134.35323452635635</c:v>
                </c:pt>
                <c:pt idx="81">
                  <c:v>137.01997467999033</c:v>
                </c:pt>
                <c:pt idx="82">
                  <c:v>139.65800737079297</c:v>
                </c:pt>
                <c:pt idx="83">
                  <c:v>142.26560799368752</c:v>
                </c:pt>
                <c:pt idx="84">
                  <c:v>144.84113779845075</c:v>
                </c:pt>
                <c:pt idx="85">
                  <c:v>147.38304666226685</c:v>
                </c:pt>
                <c:pt idx="86">
                  <c:v>149.88987499382804</c:v>
                </c:pt>
                <c:pt idx="87">
                  <c:v>152.36025663366291</c:v>
                </c:pt>
                <c:pt idx="88">
                  <c:v>154.79292087801511</c:v>
                </c:pt>
                <c:pt idx="89">
                  <c:v>157.18669282403823</c:v>
                </c:pt>
                <c:pt idx="90">
                  <c:v>159.54049281704101</c:v>
                </c:pt>
                <c:pt idx="91">
                  <c:v>161.85333703422299</c:v>
                </c:pt>
                <c:pt idx="92">
                  <c:v>164.12433703502251</c:v>
                </c:pt>
                <c:pt idx="93">
                  <c:v>166.35269911116288</c:v>
                </c:pt>
                <c:pt idx="94">
                  <c:v>168.53772315711547</c:v>
                </c:pt>
                <c:pt idx="95">
                  <c:v>170.6788039357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.135792989403505</c:v>
                </c:pt>
                <c:pt idx="43">
                  <c:v>35.330960253308092</c:v>
                </c:pt>
                <c:pt idx="44">
                  <c:v>37.582243105906898</c:v>
                </c:pt>
                <c:pt idx="45">
                  <c:v>39.879764957348883</c:v>
                </c:pt>
                <c:pt idx="46">
                  <c:v>42.268184597957081</c:v>
                </c:pt>
                <c:pt idx="47">
                  <c:v>44.727100027589977</c:v>
                </c:pt>
                <c:pt idx="48">
                  <c:v>47.270550038803748</c:v>
                </c:pt>
                <c:pt idx="49">
                  <c:v>49.878449653983253</c:v>
                </c:pt>
                <c:pt idx="50">
                  <c:v>52.543440484119827</c:v>
                </c:pt>
                <c:pt idx="51">
                  <c:v>55.274316847377882</c:v>
                </c:pt>
                <c:pt idx="52">
                  <c:v>58.071300425453259</c:v>
                </c:pt>
                <c:pt idx="53">
                  <c:v>60.942169161783184</c:v>
                </c:pt>
                <c:pt idx="54">
                  <c:v>63.875069806266694</c:v>
                </c:pt>
                <c:pt idx="55">
                  <c:v>66.870807072987247</c:v>
                </c:pt>
                <c:pt idx="56">
                  <c:v>69.927566894470942</c:v>
                </c:pt>
                <c:pt idx="57">
                  <c:v>73.045849007074509</c:v>
                </c:pt>
                <c:pt idx="58">
                  <c:v>76.220300323044938</c:v>
                </c:pt>
                <c:pt idx="59">
                  <c:v>79.448104576835419</c:v>
                </c:pt>
                <c:pt idx="60">
                  <c:v>82.727745974741737</c:v>
                </c:pt>
                <c:pt idx="61">
                  <c:v>86.063483319474102</c:v>
                </c:pt>
                <c:pt idx="62">
                  <c:v>89.449377258513209</c:v>
                </c:pt>
                <c:pt idx="63">
                  <c:v>92.882097202679091</c:v>
                </c:pt>
                <c:pt idx="64">
                  <c:v>96.358809331592568</c:v>
                </c:pt>
                <c:pt idx="65">
                  <c:v>99.876552335461554</c:v>
                </c:pt>
                <c:pt idx="66">
                  <c:v>103.43225808873407</c:v>
                </c:pt>
                <c:pt idx="67">
                  <c:v>107.02267067788809</c:v>
                </c:pt>
                <c:pt idx="68">
                  <c:v>110.64436775889332</c:v>
                </c:pt>
                <c:pt idx="69">
                  <c:v>114.29377533914983</c:v>
                </c:pt>
                <c:pt idx="70">
                  <c:v>117.96718610227195</c:v>
                </c:pt>
                <c:pt idx="71">
                  <c:v>121.66077281464375</c:v>
                </c:pt>
                <c:pt idx="72">
                  <c:v>125.37064109649829</c:v>
                </c:pt>
                <c:pt idx="73">
                  <c:v>129.0928485448498</c:v>
                </c:pt>
                <c:pt idx="74">
                  <c:v>132.82340994792517</c:v>
                </c:pt>
                <c:pt idx="75">
                  <c:v>136.55830516481674</c:v>
                </c:pt>
                <c:pt idx="76">
                  <c:v>140.29350010163361</c:v>
                </c:pt>
                <c:pt idx="77">
                  <c:v>144.02495933879879</c:v>
                </c:pt>
                <c:pt idx="78">
                  <c:v>147.7486681713132</c:v>
                </c:pt>
                <c:pt idx="79">
                  <c:v>151.46065189783312</c:v>
                </c:pt>
                <c:pt idx="80">
                  <c:v>155.15699486098057</c:v>
                </c:pt>
                <c:pt idx="81">
                  <c:v>158.83385487666831</c:v>
                </c:pt>
                <c:pt idx="82">
                  <c:v>162.48747337727522</c:v>
                </c:pt>
                <c:pt idx="83">
                  <c:v>166.11419004852942</c:v>
                </c:pt>
                <c:pt idx="84">
                  <c:v>169.71045512441265</c:v>
                </c:pt>
                <c:pt idx="85">
                  <c:v>173.2728413923702</c:v>
                </c:pt>
                <c:pt idx="86">
                  <c:v>176.798054603601</c:v>
                </c:pt>
                <c:pt idx="87">
                  <c:v>180.28294490112049</c:v>
                </c:pt>
                <c:pt idx="88">
                  <c:v>183.72451651964315</c:v>
                </c:pt>
                <c:pt idx="89">
                  <c:v>187.11993468316058</c:v>
                </c:pt>
                <c:pt idx="90">
                  <c:v>190.46653072895464</c:v>
                </c:pt>
                <c:pt idx="91">
                  <c:v>193.76180823549126</c:v>
                </c:pt>
                <c:pt idx="92">
                  <c:v>197.00344712509698</c:v>
                </c:pt>
                <c:pt idx="93">
                  <c:v>200.18930688946432</c:v>
                </c:pt>
                <c:pt idx="94">
                  <c:v>203.31742854305389</c:v>
                </c:pt>
                <c:pt idx="95">
                  <c:v>206.38603642121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.164016178519546</c:v>
                </c:pt>
                <c:pt idx="43">
                  <c:v>35.400696856808906</c:v>
                </c:pt>
                <c:pt idx="44">
                  <c:v>37.709180424546567</c:v>
                </c:pt>
                <c:pt idx="45">
                  <c:v>40.082012887426586</c:v>
                </c:pt>
                <c:pt idx="46">
                  <c:v>42.566218606086423</c:v>
                </c:pt>
                <c:pt idx="47">
                  <c:v>45.143856785327792</c:v>
                </c:pt>
                <c:pt idx="48">
                  <c:v>47.831286434681374</c:v>
                </c:pt>
                <c:pt idx="49">
                  <c:v>50.610673003052696</c:v>
                </c:pt>
                <c:pt idx="50">
                  <c:v>53.47676757713657</c:v>
                </c:pt>
                <c:pt idx="51">
                  <c:v>56.440279085538236</c:v>
                </c:pt>
                <c:pt idx="52">
                  <c:v>59.503239001862021</c:v>
                </c:pt>
                <c:pt idx="53">
                  <c:v>62.675083625615315</c:v>
                </c:pt>
                <c:pt idx="54">
                  <c:v>65.945577804155462</c:v>
                </c:pt>
                <c:pt idx="55">
                  <c:v>69.316906286721618</c:v>
                </c:pt>
                <c:pt idx="56">
                  <c:v>72.788453002483763</c:v>
                </c:pt>
                <c:pt idx="57">
                  <c:v>76.36173976791892</c:v>
                </c:pt>
                <c:pt idx="58">
                  <c:v>80.032276184691284</c:v>
                </c:pt>
                <c:pt idx="59">
                  <c:v>83.797920917708836</c:v>
                </c:pt>
                <c:pt idx="60">
                  <c:v>87.657629427406775</c:v>
                </c:pt>
                <c:pt idx="61">
                  <c:v>91.615922869365406</c:v>
                </c:pt>
                <c:pt idx="62">
                  <c:v>95.666952128686319</c:v>
                </c:pt>
                <c:pt idx="63">
                  <c:v>99.807231759844441</c:v>
                </c:pt>
                <c:pt idx="64">
                  <c:v>104.03353294283897</c:v>
                </c:pt>
                <c:pt idx="65">
                  <c:v>108.34228905974751</c:v>
                </c:pt>
                <c:pt idx="66">
                  <c:v>112.72962046300685</c:v>
                </c:pt>
                <c:pt idx="67">
                  <c:v>117.19122525404505</c:v>
                </c:pt>
                <c:pt idx="68">
                  <c:v>121.72240774171544</c:v>
                </c:pt>
                <c:pt idx="69">
                  <c:v>126.31809832565123</c:v>
                </c:pt>
                <c:pt idx="70">
                  <c:v>130.97288034347736</c:v>
                </c:pt>
                <c:pt idx="71">
                  <c:v>135.68101151002679</c:v>
                </c:pt>
                <c:pt idx="72">
                  <c:v>140.43650120123118</c:v>
                </c:pt>
                <c:pt idx="73">
                  <c:v>145.23314343172427</c:v>
                </c:pt>
                <c:pt idx="74">
                  <c:v>150.06453301382766</c:v>
                </c:pt>
                <c:pt idx="75">
                  <c:v>154.92408727585087</c:v>
                </c:pt>
                <c:pt idx="76">
                  <c:v>159.80508660565928</c:v>
                </c:pt>
                <c:pt idx="77">
                  <c:v>164.70070484616127</c:v>
                </c:pt>
                <c:pt idx="78">
                  <c:v>169.60405327977898</c:v>
                </c:pt>
                <c:pt idx="79">
                  <c:v>174.50822161778507</c:v>
                </c:pt>
                <c:pt idx="80">
                  <c:v>179.40631937034007</c:v>
                </c:pt>
                <c:pt idx="81">
                  <c:v>184.29151124662687</c:v>
                </c:pt>
                <c:pt idx="82">
                  <c:v>189.15704693780745</c:v>
                </c:pt>
                <c:pt idx="83">
                  <c:v>193.99629679030113</c:v>
                </c:pt>
                <c:pt idx="84">
                  <c:v>198.80278389811676</c:v>
                </c:pt>
                <c:pt idx="85">
                  <c:v>203.5702153051048</c:v>
                </c:pt>
                <c:pt idx="86">
                  <c:v>208.29251027813768</c:v>
                </c:pt>
                <c:pt idx="87">
                  <c:v>212.96382906133343</c:v>
                </c:pt>
                <c:pt idx="88">
                  <c:v>217.57859820864556</c:v>
                </c:pt>
                <c:pt idx="89">
                  <c:v>222.13153101006998</c:v>
                </c:pt>
                <c:pt idx="90">
                  <c:v>226.61764427565561</c:v>
                </c:pt>
                <c:pt idx="91">
                  <c:v>231.03227512427952</c:v>
                </c:pt>
                <c:pt idx="92">
                  <c:v>235.37109366591832</c:v>
                </c:pt>
                <c:pt idx="93">
                  <c:v>239.63011310920126</c:v>
                </c:pt>
                <c:pt idx="94">
                  <c:v>243.80569676196609</c:v>
                </c:pt>
                <c:pt idx="95">
                  <c:v>247.89456347215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20</c:v>
                </c:pt>
                <c:pt idx="4">
                  <c:v>24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  <c:pt idx="8">
                  <c:v>32</c:v>
                </c:pt>
                <c:pt idx="9">
                  <c:v>34</c:v>
                </c:pt>
                <c:pt idx="10">
                  <c:v>38</c:v>
                </c:pt>
                <c:pt idx="11">
                  <c:v>42</c:v>
                </c:pt>
                <c:pt idx="12">
                  <c:v>42</c:v>
                </c:pt>
                <c:pt idx="13">
                  <c:v>43</c:v>
                </c:pt>
                <c:pt idx="14">
                  <c:v>45</c:v>
                </c:pt>
                <c:pt idx="15">
                  <c:v>46</c:v>
                </c:pt>
                <c:pt idx="16">
                  <c:v>50</c:v>
                </c:pt>
                <c:pt idx="17">
                  <c:v>56</c:v>
                </c:pt>
                <c:pt idx="18">
                  <c:v>62</c:v>
                </c:pt>
                <c:pt idx="19">
                  <c:v>63</c:v>
                </c:pt>
                <c:pt idx="20">
                  <c:v>66</c:v>
                </c:pt>
                <c:pt idx="21">
                  <c:v>68</c:v>
                </c:pt>
                <c:pt idx="22">
                  <c:v>73</c:v>
                </c:pt>
                <c:pt idx="23">
                  <c:v>76</c:v>
                </c:pt>
                <c:pt idx="24">
                  <c:v>83</c:v>
                </c:pt>
                <c:pt idx="25">
                  <c:v>88</c:v>
                </c:pt>
                <c:pt idx="26">
                  <c:v>94</c:v>
                </c:pt>
                <c:pt idx="27">
                  <c:v>100</c:v>
                </c:pt>
                <c:pt idx="28">
                  <c:v>113</c:v>
                </c:pt>
                <c:pt idx="29">
                  <c:v>122</c:v>
                </c:pt>
                <c:pt idx="30">
                  <c:v>129</c:v>
                </c:pt>
                <c:pt idx="31">
                  <c:v>137</c:v>
                </c:pt>
                <c:pt idx="32">
                  <c:v>151</c:v>
                </c:pt>
                <c:pt idx="33">
                  <c:v>161</c:v>
                </c:pt>
                <c:pt idx="34">
                  <c:v>171</c:v>
                </c:pt>
                <c:pt idx="35">
                  <c:v>179</c:v>
                </c:pt>
                <c:pt idx="36">
                  <c:v>190</c:v>
                </c:pt>
                <c:pt idx="37">
                  <c:v>200</c:v>
                </c:pt>
                <c:pt idx="38">
                  <c:v>210</c:v>
                </c:pt>
                <c:pt idx="39">
                  <c:v>225</c:v>
                </c:pt>
                <c:pt idx="40">
                  <c:v>240</c:v>
                </c:pt>
                <c:pt idx="41">
                  <c:v>256</c:v>
                </c:pt>
                <c:pt idx="42">
                  <c:v>269</c:v>
                </c:pt>
                <c:pt idx="43">
                  <c:v>287</c:v>
                </c:pt>
                <c:pt idx="44">
                  <c:v>300</c:v>
                </c:pt>
                <c:pt idx="45">
                  <c:v>313</c:v>
                </c:pt>
                <c:pt idx="46">
                  <c:v>325</c:v>
                </c:pt>
                <c:pt idx="47">
                  <c:v>340</c:v>
                </c:pt>
                <c:pt idx="48">
                  <c:v>357</c:v>
                </c:pt>
                <c:pt idx="49">
                  <c:v>374</c:v>
                </c:pt>
                <c:pt idx="50">
                  <c:v>393</c:v>
                </c:pt>
                <c:pt idx="51">
                  <c:v>413</c:v>
                </c:pt>
                <c:pt idx="52">
                  <c:v>434</c:v>
                </c:pt>
                <c:pt idx="53">
                  <c:v>464</c:v>
                </c:pt>
                <c:pt idx="54">
                  <c:v>486</c:v>
                </c:pt>
                <c:pt idx="55">
                  <c:v>506</c:v>
                </c:pt>
                <c:pt idx="56">
                  <c:v>534</c:v>
                </c:pt>
                <c:pt idx="57">
                  <c:v>551</c:v>
                </c:pt>
                <c:pt idx="58">
                  <c:v>564</c:v>
                </c:pt>
                <c:pt idx="59">
                  <c:v>584</c:v>
                </c:pt>
                <c:pt idx="60">
                  <c:v>606</c:v>
                </c:pt>
                <c:pt idx="61">
                  <c:v>624</c:v>
                </c:pt>
                <c:pt idx="62">
                  <c:v>6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0.68889882840728</c:v>
                </c:pt>
                <c:pt idx="43">
                  <c:v>285.70665583658109</c:v>
                </c:pt>
                <c:pt idx="44">
                  <c:v>301.01366813977188</c:v>
                </c:pt>
                <c:pt idx="45">
                  <c:v>316.52535152040309</c:v>
                </c:pt>
                <c:pt idx="46">
                  <c:v>332.54155818216896</c:v>
                </c:pt>
                <c:pt idx="47">
                  <c:v>348.90278124322515</c:v>
                </c:pt>
                <c:pt idx="48">
                  <c:v>365.68803588615117</c:v>
                </c:pt>
                <c:pt idx="49">
                  <c:v>382.74802259107076</c:v>
                </c:pt>
                <c:pt idx="50">
                  <c:v>400.02279558363637</c:v>
                </c:pt>
                <c:pt idx="51">
                  <c:v>417.55923345112819</c:v>
                </c:pt>
                <c:pt idx="52">
                  <c:v>435.34664912843675</c:v>
                </c:pt>
                <c:pt idx="53">
                  <c:v>453.43749290313633</c:v>
                </c:pt>
                <c:pt idx="54">
                  <c:v>471.74302464024902</c:v>
                </c:pt>
                <c:pt idx="55">
                  <c:v>490.25993937166629</c:v>
                </c:pt>
                <c:pt idx="56">
                  <c:v>508.96986914038484</c:v>
                </c:pt>
                <c:pt idx="57">
                  <c:v>527.87234702460262</c:v>
                </c:pt>
                <c:pt idx="58">
                  <c:v>546.92910492565932</c:v>
                </c:pt>
                <c:pt idx="59">
                  <c:v>566.11773505833958</c:v>
                </c:pt>
                <c:pt idx="60">
                  <c:v>585.42749151471526</c:v>
                </c:pt>
                <c:pt idx="61">
                  <c:v>604.89089754543818</c:v>
                </c:pt>
                <c:pt idx="62">
                  <c:v>624.46687119334149</c:v>
                </c:pt>
                <c:pt idx="63">
                  <c:v>644.1346468145374</c:v>
                </c:pt>
                <c:pt idx="64">
                  <c:v>663.87827776500421</c:v>
                </c:pt>
                <c:pt idx="65">
                  <c:v>683.68184220790408</c:v>
                </c:pt>
                <c:pt idx="66">
                  <c:v>703.5295310539957</c:v>
                </c:pt>
                <c:pt idx="67">
                  <c:v>723.40521611723852</c:v>
                </c:pt>
                <c:pt idx="68">
                  <c:v>743.29254173426807</c:v>
                </c:pt>
                <c:pt idx="69">
                  <c:v>763.1749842455207</c:v>
                </c:pt>
                <c:pt idx="70">
                  <c:v>783.03592413160527</c:v>
                </c:pt>
                <c:pt idx="71">
                  <c:v>802.85869271325851</c:v>
                </c:pt>
                <c:pt idx="72">
                  <c:v>822.62681003249349</c:v>
                </c:pt>
                <c:pt idx="73">
                  <c:v>842.32405323638909</c:v>
                </c:pt>
                <c:pt idx="74">
                  <c:v>861.93445086481233</c:v>
                </c:pt>
                <c:pt idx="75">
                  <c:v>881.4422843267696</c:v>
                </c:pt>
                <c:pt idx="76">
                  <c:v>900.83215509340494</c:v>
                </c:pt>
                <c:pt idx="77">
                  <c:v>920.08900754085278</c:v>
                </c:pt>
                <c:pt idx="78">
                  <c:v>939.19819719210636</c:v>
                </c:pt>
                <c:pt idx="79">
                  <c:v>958.1455443711576</c:v>
                </c:pt>
                <c:pt idx="80">
                  <c:v>976.91738621973911</c:v>
                </c:pt>
                <c:pt idx="81">
                  <c:v>995.50060538602747</c:v>
                </c:pt>
                <c:pt idx="82">
                  <c:v>1013.8826356124678</c:v>
                </c:pt>
                <c:pt idx="83">
                  <c:v>1032.0514915856884</c:v>
                </c:pt>
                <c:pt idx="84">
                  <c:v>1049.9957885873469</c:v>
                </c:pt>
                <c:pt idx="85">
                  <c:v>1067.7047616556674</c:v>
                </c:pt>
                <c:pt idx="86">
                  <c:v>1085.1682784746181</c:v>
                </c:pt>
                <c:pt idx="87">
                  <c:v>1102.3768595925953</c:v>
                </c:pt>
                <c:pt idx="88">
                  <c:v>1119.3216926358168</c:v>
                </c:pt>
                <c:pt idx="89">
                  <c:v>1135.994634253007</c:v>
                </c:pt>
                <c:pt idx="90">
                  <c:v>1152.3882056539439</c:v>
                </c:pt>
                <c:pt idx="91">
                  <c:v>1168.4955965884271</c:v>
                </c:pt>
                <c:pt idx="92">
                  <c:v>1184.3106619977282</c:v>
                </c:pt>
                <c:pt idx="93">
                  <c:v>1199.8279173111937</c:v>
                </c:pt>
                <c:pt idx="94">
                  <c:v>1215.0425303409097</c:v>
                </c:pt>
                <c:pt idx="95">
                  <c:v>1229.9503307489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0.88624711969464</c:v>
                </c:pt>
                <c:pt idx="43">
                  <c:v>286.19285025845278</c:v>
                </c:pt>
                <c:pt idx="44">
                  <c:v>301.89558290483677</c:v>
                </c:pt>
                <c:pt idx="45">
                  <c:v>317.92502055657218</c:v>
                </c:pt>
                <c:pt idx="46">
                  <c:v>334.59540444650531</c:v>
                </c:pt>
                <c:pt idx="47">
                  <c:v>351.76193019024061</c:v>
                </c:pt>
                <c:pt idx="48">
                  <c:v>369.51696072505945</c:v>
                </c:pt>
                <c:pt idx="49">
                  <c:v>387.72372974990492</c:v>
                </c:pt>
                <c:pt idx="50">
                  <c:v>406.33357561789558</c:v>
                </c:pt>
                <c:pt idx="51">
                  <c:v>425.40306763239153</c:v>
                </c:pt>
                <c:pt idx="52">
                  <c:v>444.93027801209882</c:v>
                </c:pt>
                <c:pt idx="53">
                  <c:v>464.97521846435285</c:v>
                </c:pt>
                <c:pt idx="54">
                  <c:v>485.45640420843517</c:v>
                </c:pt>
                <c:pt idx="55">
                  <c:v>506.37612635145933</c:v>
                </c:pt>
                <c:pt idx="56">
                  <c:v>527.72038306288528</c:v>
                </c:pt>
                <c:pt idx="57">
                  <c:v>549.49197346601022</c:v>
                </c:pt>
                <c:pt idx="58">
                  <c:v>571.65496877755129</c:v>
                </c:pt>
                <c:pt idx="59">
                  <c:v>594.18824721806254</c:v>
                </c:pt>
                <c:pt idx="60">
                  <c:v>617.08126522399243</c:v>
                </c:pt>
                <c:pt idx="61">
                  <c:v>640.36568925696679</c:v>
                </c:pt>
                <c:pt idx="62">
                  <c:v>663.9988551669793</c:v>
                </c:pt>
                <c:pt idx="63">
                  <c:v>687.95720527636468</c:v>
                </c:pt>
                <c:pt idx="64">
                  <c:v>712.2208748329864</c:v>
                </c:pt>
                <c:pt idx="65">
                  <c:v>736.76911389320082</c:v>
                </c:pt>
                <c:pt idx="66">
                  <c:v>761.58043435780064</c:v>
                </c:pt>
                <c:pt idx="67">
                  <c:v>786.63204454166453</c:v>
                </c:pt>
                <c:pt idx="68">
                  <c:v>811.90000175690034</c:v>
                </c:pt>
                <c:pt idx="69">
                  <c:v>837.35931409085401</c:v>
                </c:pt>
                <c:pt idx="70">
                  <c:v>862.98406719925867</c:v>
                </c:pt>
                <c:pt idx="71">
                  <c:v>888.74751587218964</c:v>
                </c:pt>
                <c:pt idx="72">
                  <c:v>914.62245508135845</c:v>
                </c:pt>
                <c:pt idx="73">
                  <c:v>940.58135395830493</c:v>
                </c:pt>
                <c:pt idx="74">
                  <c:v>966.59639258043615</c:v>
                </c:pt>
                <c:pt idx="75">
                  <c:v>992.63951604778254</c:v>
                </c:pt>
                <c:pt idx="76">
                  <c:v>1018.6825820206111</c:v>
                </c:pt>
                <c:pt idx="77">
                  <c:v>1044.6974487216312</c:v>
                </c:pt>
                <c:pt idx="78">
                  <c:v>1070.6561277802618</c:v>
                </c:pt>
                <c:pt idx="79">
                  <c:v>1096.5309181160342</c:v>
                </c:pt>
                <c:pt idx="80">
                  <c:v>1122.2945395527413</c:v>
                </c:pt>
                <c:pt idx="81">
                  <c:v>1147.9202337155307</c:v>
                </c:pt>
                <c:pt idx="82">
                  <c:v>1173.3818329959968</c:v>
                </c:pt>
                <c:pt idx="83">
                  <c:v>1198.6538622878466</c:v>
                </c:pt>
                <c:pt idx="84">
                  <c:v>1223.7116245409518</c:v>
                </c:pt>
                <c:pt idx="85">
                  <c:v>1248.5312840925503</c:v>
                </c:pt>
                <c:pt idx="86">
                  <c:v>1273.0899385269167</c:v>
                </c:pt>
                <c:pt idx="87">
                  <c:v>1297.3656981628619</c:v>
                </c:pt>
                <c:pt idx="88">
                  <c:v>1321.3377535886821</c:v>
                </c:pt>
                <c:pt idx="89">
                  <c:v>1344.9864228583399</c:v>
                </c:pt>
                <c:pt idx="90">
                  <c:v>1368.2931861010522</c:v>
                </c:pt>
                <c:pt idx="91">
                  <c:v>1391.2407278250409</c:v>
                </c:pt>
                <c:pt idx="92">
                  <c:v>1413.8129649156695</c:v>
                </c:pt>
                <c:pt idx="93">
                  <c:v>1435.9950685665633</c:v>
                </c:pt>
                <c:pt idx="94">
                  <c:v>1457.7734772552485</c:v>
                </c:pt>
                <c:pt idx="95">
                  <c:v>1479.135908912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1.08471515673085</c:v>
                </c:pt>
                <c:pt idx="43">
                  <c:v>286.68318648629315</c:v>
                </c:pt>
                <c:pt idx="44">
                  <c:v>302.78797083276663</c:v>
                </c:pt>
                <c:pt idx="45">
                  <c:v>319.34659632637823</c:v>
                </c:pt>
                <c:pt idx="46">
                  <c:v>336.68985266647616</c:v>
                </c:pt>
                <c:pt idx="47">
                  <c:v>354.69014766526135</c:v>
                </c:pt>
                <c:pt idx="48">
                  <c:v>373.45602638451544</c:v>
                </c:pt>
                <c:pt idx="49">
                  <c:v>392.86639632253844</c:v>
                </c:pt>
                <c:pt idx="50">
                  <c:v>412.88728654234126</c:v>
                </c:pt>
                <c:pt idx="51">
                  <c:v>433.58859307589159</c:v>
                </c:pt>
                <c:pt idx="52">
                  <c:v>454.98096283324259</c:v>
                </c:pt>
                <c:pt idx="53">
                  <c:v>477.13589464841618</c:v>
                </c:pt>
                <c:pt idx="54">
                  <c:v>499.98313497816196</c:v>
                </c:pt>
                <c:pt idx="55">
                  <c:v>523.53452961047628</c:v>
                </c:pt>
                <c:pt idx="56">
                  <c:v>547.78434234199221</c:v>
                </c:pt>
                <c:pt idx="57">
                  <c:v>572.74239818687568</c:v>
                </c:pt>
                <c:pt idx="58">
                  <c:v>598.37867565342572</c:v>
                </c:pt>
                <c:pt idx="59">
                  <c:v>624.67665049897505</c:v>
                </c:pt>
                <c:pt idx="60">
                  <c:v>651.62895356403146</c:v>
                </c:pt>
                <c:pt idx="61">
                  <c:v>679.2689665285809</c:v>
                </c:pt>
                <c:pt idx="62">
                  <c:v>707.55455293105842</c:v>
                </c:pt>
                <c:pt idx="63">
                  <c:v>736.46096401060925</c:v>
                </c:pt>
                <c:pt idx="64">
                  <c:v>765.96546308793404</c:v>
                </c:pt>
                <c:pt idx="65">
                  <c:v>796.04296047267565</c:v>
                </c:pt>
                <c:pt idx="66">
                  <c:v>826.66619105691439</c:v>
                </c:pt>
                <c:pt idx="67">
                  <c:v>857.80495218909209</c:v>
                </c:pt>
                <c:pt idx="68">
                  <c:v>889.42630796929632</c:v>
                </c:pt>
                <c:pt idx="69">
                  <c:v>921.49472704490722</c:v>
                </c:pt>
                <c:pt idx="70">
                  <c:v>953.97226940728501</c:v>
                </c:pt>
                <c:pt idx="71">
                  <c:v>986.81873407093155</c:v>
                </c:pt>
                <c:pt idx="72">
                  <c:v>1019.9922031701782</c:v>
                </c:pt>
                <c:pt idx="73">
                  <c:v>1053.4492735813233</c:v>
                </c:pt>
                <c:pt idx="74">
                  <c:v>1087.1451709515131</c:v>
                </c:pt>
                <c:pt idx="75">
                  <c:v>1121.0339007913985</c:v>
                </c:pt>
                <c:pt idx="76">
                  <c:v>1155.0685335956186</c:v>
                </c:pt>
                <c:pt idx="77">
                  <c:v>1189.2014173176046</c:v>
                </c:pt>
                <c:pt idx="78">
                  <c:v>1223.3844834555234</c:v>
                </c:pt>
                <c:pt idx="79">
                  <c:v>1257.5695324418762</c:v>
                </c:pt>
                <c:pt idx="80">
                  <c:v>1291.7085235775673</c:v>
                </c:pt>
                <c:pt idx="81">
                  <c:v>1325.7538224055527</c:v>
                </c:pt>
                <c:pt idx="82">
                  <c:v>1359.6584061019703</c:v>
                </c:pt>
                <c:pt idx="83">
                  <c:v>1393.3761117625374</c:v>
                </c:pt>
                <c:pt idx="84">
                  <c:v>1426.8618597599238</c:v>
                </c:pt>
                <c:pt idx="85">
                  <c:v>1460.0718705148777</c:v>
                </c:pt>
                <c:pt idx="86">
                  <c:v>1492.9638602591901</c:v>
                </c:pt>
                <c:pt idx="87">
                  <c:v>1525.4972408002268</c:v>
                </c:pt>
                <c:pt idx="88">
                  <c:v>1557.6332954603822</c:v>
                </c:pt>
                <c:pt idx="89">
                  <c:v>1589.335319670457</c:v>
                </c:pt>
                <c:pt idx="90">
                  <c:v>1620.5687358159378</c:v>
                </c:pt>
                <c:pt idx="91">
                  <c:v>1651.3012090016932</c:v>
                </c:pt>
                <c:pt idx="92">
                  <c:v>1681.5027339034143</c:v>
                </c:pt>
                <c:pt idx="93">
                  <c:v>1711.1457037163445</c:v>
                </c:pt>
                <c:pt idx="94">
                  <c:v>1740.2049573203631</c:v>
                </c:pt>
                <c:pt idx="95">
                  <c:v>1768.6578159540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3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5</c:v>
                </c:pt>
                <c:pt idx="17">
                  <c:v>16</c:v>
                </c:pt>
                <c:pt idx="18">
                  <c:v>18</c:v>
                </c:pt>
                <c:pt idx="19">
                  <c:v>21</c:v>
                </c:pt>
                <c:pt idx="20">
                  <c:v>24</c:v>
                </c:pt>
                <c:pt idx="21">
                  <c:v>26</c:v>
                </c:pt>
                <c:pt idx="22">
                  <c:v>27</c:v>
                </c:pt>
                <c:pt idx="23">
                  <c:v>29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3</c:v>
                </c:pt>
                <c:pt idx="28">
                  <c:v>34</c:v>
                </c:pt>
                <c:pt idx="29">
                  <c:v>35</c:v>
                </c:pt>
                <c:pt idx="30">
                  <c:v>38</c:v>
                </c:pt>
                <c:pt idx="31">
                  <c:v>41</c:v>
                </c:pt>
                <c:pt idx="32">
                  <c:v>46</c:v>
                </c:pt>
                <c:pt idx="33">
                  <c:v>48</c:v>
                </c:pt>
                <c:pt idx="34">
                  <c:v>52</c:v>
                </c:pt>
                <c:pt idx="35">
                  <c:v>58</c:v>
                </c:pt>
                <c:pt idx="36">
                  <c:v>64</c:v>
                </c:pt>
                <c:pt idx="37">
                  <c:v>68</c:v>
                </c:pt>
                <c:pt idx="38">
                  <c:v>77</c:v>
                </c:pt>
                <c:pt idx="39">
                  <c:v>79</c:v>
                </c:pt>
                <c:pt idx="40">
                  <c:v>85</c:v>
                </c:pt>
                <c:pt idx="41">
                  <c:v>90</c:v>
                </c:pt>
                <c:pt idx="42">
                  <c:v>96</c:v>
                </c:pt>
                <c:pt idx="43">
                  <c:v>99</c:v>
                </c:pt>
                <c:pt idx="44">
                  <c:v>103</c:v>
                </c:pt>
                <c:pt idx="45">
                  <c:v>109</c:v>
                </c:pt>
                <c:pt idx="46">
                  <c:v>114</c:v>
                </c:pt>
                <c:pt idx="47">
                  <c:v>124</c:v>
                </c:pt>
                <c:pt idx="48">
                  <c:v>134</c:v>
                </c:pt>
                <c:pt idx="49">
                  <c:v>142</c:v>
                </c:pt>
                <c:pt idx="50">
                  <c:v>148</c:v>
                </c:pt>
                <c:pt idx="51">
                  <c:v>152</c:v>
                </c:pt>
                <c:pt idx="52">
                  <c:v>160</c:v>
                </c:pt>
                <c:pt idx="53">
                  <c:v>168</c:v>
                </c:pt>
                <c:pt idx="54">
                  <c:v>178</c:v>
                </c:pt>
                <c:pt idx="55">
                  <c:v>184</c:v>
                </c:pt>
                <c:pt idx="56">
                  <c:v>195</c:v>
                </c:pt>
                <c:pt idx="57">
                  <c:v>202</c:v>
                </c:pt>
                <c:pt idx="58">
                  <c:v>204</c:v>
                </c:pt>
                <c:pt idx="59">
                  <c:v>219</c:v>
                </c:pt>
                <c:pt idx="60">
                  <c:v>228</c:v>
                </c:pt>
                <c:pt idx="61">
                  <c:v>241</c:v>
                </c:pt>
                <c:pt idx="62">
                  <c:v>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06867921775347</c:v>
                </c:pt>
                <c:pt idx="43">
                  <c:v>102.26507761885409</c:v>
                </c:pt>
                <c:pt idx="44">
                  <c:v>108.57505246064916</c:v>
                </c:pt>
                <c:pt idx="45">
                  <c:v>114.9645676748884</c:v>
                </c:pt>
                <c:pt idx="46">
                  <c:v>121.55334870726701</c:v>
                </c:pt>
                <c:pt idx="47">
                  <c:v>128.2792320063659</c:v>
                </c:pt>
                <c:pt idx="48">
                  <c:v>135.18253224455827</c:v>
                </c:pt>
                <c:pt idx="49">
                  <c:v>142.19703148561112</c:v>
                </c:pt>
                <c:pt idx="50">
                  <c:v>149.29425276441953</c:v>
                </c:pt>
                <c:pt idx="51">
                  <c:v>156.50013838239843</c:v>
                </c:pt>
                <c:pt idx="52">
                  <c:v>163.81507311393545</c:v>
                </c:pt>
                <c:pt idx="53">
                  <c:v>171.25247276736599</c:v>
                </c:pt>
                <c:pt idx="54">
                  <c:v>178.77403059030559</c:v>
                </c:pt>
                <c:pt idx="55">
                  <c:v>186.38294238884168</c:v>
                </c:pt>
                <c:pt idx="56">
                  <c:v>194.07341246485259</c:v>
                </c:pt>
                <c:pt idx="57">
                  <c:v>201.84607994304963</c:v>
                </c:pt>
                <c:pt idx="58">
                  <c:v>209.68307172004745</c:v>
                </c:pt>
                <c:pt idx="59">
                  <c:v>217.57709985396417</c:v>
                </c:pt>
                <c:pt idx="60">
                  <c:v>225.52357133948081</c:v>
                </c:pt>
                <c:pt idx="61">
                  <c:v>233.53301381394471</c:v>
                </c:pt>
                <c:pt idx="62">
                  <c:v>241.59013838263667</c:v>
                </c:pt>
                <c:pt idx="63">
                  <c:v>249.68674226223905</c:v>
                </c:pt>
                <c:pt idx="64">
                  <c:v>257.81628495684913</c:v>
                </c:pt>
                <c:pt idx="65">
                  <c:v>265.9722325871258</c:v>
                </c:pt>
                <c:pt idx="66">
                  <c:v>274.1480921524664</c:v>
                </c:pt>
                <c:pt idx="67">
                  <c:v>282.33723446634758</c:v>
                </c:pt>
                <c:pt idx="68">
                  <c:v>290.53292873408418</c:v>
                </c:pt>
                <c:pt idx="69">
                  <c:v>298.72836876079441</c:v>
                </c:pt>
                <c:pt idx="70">
                  <c:v>306.9167040447486</c:v>
                </c:pt>
                <c:pt idx="71">
                  <c:v>315.09106113124807</c:v>
                </c:pt>
                <c:pt idx="72">
                  <c:v>323.24463912126186</c:v>
                </c:pt>
                <c:pt idx="73">
                  <c:v>331.37073746841611</c:v>
                </c:pt>
                <c:pt idx="74">
                  <c:v>339.4627534068199</c:v>
                </c:pt>
                <c:pt idx="75">
                  <c:v>347.51418373202068</c:v>
                </c:pt>
                <c:pt idx="76">
                  <c:v>355.51865145063931</c:v>
                </c:pt>
                <c:pt idx="77">
                  <c:v>363.46991541276645</c:v>
                </c:pt>
                <c:pt idx="78">
                  <c:v>371.36189944712248</c:v>
                </c:pt>
                <c:pt idx="79">
                  <c:v>379.18871522443538</c:v>
                </c:pt>
                <c:pt idx="80">
                  <c:v>386.94468294832427</c:v>
                </c:pt>
                <c:pt idx="81">
                  <c:v>394.6243428961053</c:v>
                </c:pt>
                <c:pt idx="82">
                  <c:v>402.22245950979527</c:v>
                </c:pt>
                <c:pt idx="83">
                  <c:v>409.73403401300601</c:v>
                </c:pt>
                <c:pt idx="84">
                  <c:v>417.1543125844027</c:v>
                </c:pt>
                <c:pt idx="85">
                  <c:v>424.47879449941269</c:v>
                </c:pt>
                <c:pt idx="86">
                  <c:v>431.70323798911375</c:v>
                </c:pt>
                <c:pt idx="87">
                  <c:v>438.82366858496027</c:v>
                </c:pt>
                <c:pt idx="88">
                  <c:v>445.8363848383616</c:v>
                </c:pt>
                <c:pt idx="89">
                  <c:v>452.73795977059922</c:v>
                </c:pt>
                <c:pt idx="90">
                  <c:v>459.52523988399167</c:v>
                </c:pt>
                <c:pt idx="91">
                  <c:v>466.19534693077333</c:v>
                </c:pt>
                <c:pt idx="92">
                  <c:v>472.74567683100827</c:v>
                </c:pt>
                <c:pt idx="93">
                  <c:v>479.1738979731573</c:v>
                </c:pt>
                <c:pt idx="94">
                  <c:v>485.47794819285616</c:v>
                </c:pt>
                <c:pt idx="95">
                  <c:v>491.65603777748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6.147732442904953</c:v>
                </c:pt>
                <c:pt idx="43">
                  <c:v>102.45991643613067</c:v>
                </c:pt>
                <c:pt idx="44">
                  <c:v>108.92866953456507</c:v>
                </c:pt>
                <c:pt idx="45">
                  <c:v>115.52614205964365</c:v>
                </c:pt>
                <c:pt idx="46">
                  <c:v>122.37793913186989</c:v>
                </c:pt>
                <c:pt idx="47">
                  <c:v>129.42791148685757</c:v>
                </c:pt>
                <c:pt idx="48">
                  <c:v>136.72189544579078</c:v>
                </c:pt>
                <c:pt idx="49">
                  <c:v>144.19888881172494</c:v>
                </c:pt>
                <c:pt idx="50">
                  <c:v>151.83511382277712</c:v>
                </c:pt>
                <c:pt idx="51">
                  <c:v>159.66055936935987</c:v>
                </c:pt>
                <c:pt idx="52">
                  <c:v>167.67929888111036</c:v>
                </c:pt>
                <c:pt idx="53">
                  <c:v>175.90798305690504</c:v>
                </c:pt>
                <c:pt idx="54">
                  <c:v>184.31137426803542</c:v>
                </c:pt>
                <c:pt idx="55">
                  <c:v>192.89507062510219</c:v>
                </c:pt>
                <c:pt idx="56">
                  <c:v>201.65519375511076</c:v>
                </c:pt>
                <c:pt idx="57">
                  <c:v>210.59385870546399</c:v>
                </c:pt>
                <c:pt idx="58">
                  <c:v>219.6942902582345</c:v>
                </c:pt>
                <c:pt idx="59">
                  <c:v>228.94985856223238</c:v>
                </c:pt>
                <c:pt idx="60">
                  <c:v>238.3561793856349</c:v>
                </c:pt>
                <c:pt idx="61">
                  <c:v>247.9235497707258</c:v>
                </c:pt>
                <c:pt idx="62">
                  <c:v>257.63612750180909</c:v>
                </c:pt>
                <c:pt idx="63">
                  <c:v>267.48466582091385</c:v>
                </c:pt>
                <c:pt idx="64">
                  <c:v>277.46111987612369</c:v>
                </c:pt>
                <c:pt idx="65">
                  <c:v>287.5570744868042</c:v>
                </c:pt>
                <c:pt idx="66">
                  <c:v>297.76380074029032</c:v>
                </c:pt>
                <c:pt idx="67">
                  <c:v>308.07202397025446</c:v>
                </c:pt>
                <c:pt idx="68">
                  <c:v>318.47198154900752</c:v>
                </c:pt>
                <c:pt idx="69">
                  <c:v>328.95346667327908</c:v>
                </c:pt>
                <c:pt idx="70">
                  <c:v>339.50588202942367</c:v>
                </c:pt>
                <c:pt idx="71">
                  <c:v>350.11828023927148</c:v>
                </c:pt>
                <c:pt idx="72">
                  <c:v>360.77951255448829</c:v>
                </c:pt>
                <c:pt idx="73">
                  <c:v>371.47828321469535</c:v>
                </c:pt>
                <c:pt idx="74">
                  <c:v>382.20316401961577</c:v>
                </c:pt>
                <c:pt idx="75">
                  <c:v>392.94261784456484</c:v>
                </c:pt>
                <c:pt idx="76">
                  <c:v>403.68505769719872</c:v>
                </c:pt>
                <c:pt idx="77">
                  <c:v>414.41888307291754</c:v>
                </c:pt>
                <c:pt idx="78">
                  <c:v>425.13254416187226</c:v>
                </c:pt>
                <c:pt idx="79">
                  <c:v>435.81459792458389</c:v>
                </c:pt>
                <c:pt idx="80">
                  <c:v>446.45376200270954</c:v>
                </c:pt>
                <c:pt idx="81">
                  <c:v>457.03895593013078</c:v>
                </c:pt>
                <c:pt idx="82">
                  <c:v>467.55933204241228</c:v>
                </c:pt>
                <c:pt idx="83">
                  <c:v>478.00431788683971</c:v>
                </c:pt>
                <c:pt idx="84">
                  <c:v>488.36365175104828</c:v>
                </c:pt>
                <c:pt idx="85">
                  <c:v>498.62741755928988</c:v>
                </c:pt>
                <c:pt idx="86">
                  <c:v>508.78607552910739</c:v>
                </c:pt>
                <c:pt idx="87">
                  <c:v>518.83049522930912</c:v>
                </c:pt>
                <c:pt idx="88">
                  <c:v>528.75198357181671</c:v>
                </c:pt>
                <c:pt idx="89">
                  <c:v>538.54230553555794</c:v>
                </c:pt>
                <c:pt idx="90">
                  <c:v>548.19370000787842</c:v>
                </c:pt>
                <c:pt idx="91">
                  <c:v>557.69889782586915</c:v>
                </c:pt>
                <c:pt idx="92">
                  <c:v>567.05113417625921</c:v>
                </c:pt>
                <c:pt idx="93">
                  <c:v>576.24415842416488</c:v>
                </c:pt>
                <c:pt idx="94">
                  <c:v>585.27224036827602</c:v>
                </c:pt>
                <c:pt idx="95">
                  <c:v>594.1301757764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6.227234470711309</c:v>
                </c:pt>
                <c:pt idx="43">
                  <c:v>102.65641508172354</c:v>
                </c:pt>
                <c:pt idx="44">
                  <c:v>109.28648402802105</c:v>
                </c:pt>
                <c:pt idx="45">
                  <c:v>116.09649823102725</c:v>
                </c:pt>
                <c:pt idx="46">
                  <c:v>123.21881190183305</c:v>
                </c:pt>
                <c:pt idx="47">
                  <c:v>130.60430294664769</c:v>
                </c:pt>
                <c:pt idx="48">
                  <c:v>138.30547592182486</c:v>
                </c:pt>
                <c:pt idx="49">
                  <c:v>146.26781763510672</c:v>
                </c:pt>
                <c:pt idx="50">
                  <c:v>154.47363428224043</c:v>
                </c:pt>
                <c:pt idx="51">
                  <c:v>162.95844353386477</c:v>
                </c:pt>
                <c:pt idx="52">
                  <c:v>171.7315671182873</c:v>
                </c:pt>
                <c:pt idx="53">
                  <c:v>180.81449986190449</c:v>
                </c:pt>
                <c:pt idx="54">
                  <c:v>190.17670794005113</c:v>
                </c:pt>
                <c:pt idx="55">
                  <c:v>199.82782512257052</c:v>
                </c:pt>
                <c:pt idx="56">
                  <c:v>209.76750475624908</c:v>
                </c:pt>
                <c:pt idx="57">
                  <c:v>220.00090071459013</c:v>
                </c:pt>
                <c:pt idx="58">
                  <c:v>230.51382539105367</c:v>
                </c:pt>
                <c:pt idx="59">
                  <c:v>241.30169717786578</c:v>
                </c:pt>
                <c:pt idx="60">
                  <c:v>252.36159731099306</c:v>
                </c:pt>
                <c:pt idx="61">
                  <c:v>263.70469012476963</c:v>
                </c:pt>
                <c:pt idx="62">
                  <c:v>275.31549330962798</c:v>
                </c:pt>
                <c:pt idx="63">
                  <c:v>287.18442490733662</c:v>
                </c:pt>
                <c:pt idx="64">
                  <c:v>299.30242062465379</c:v>
                </c:pt>
                <c:pt idx="65">
                  <c:v>311.65944245148046</c:v>
                </c:pt>
                <c:pt idx="66">
                  <c:v>324.24454504703283</c:v>
                </c:pt>
                <c:pt idx="67">
                  <c:v>337.0455622092411</c:v>
                </c:pt>
                <c:pt idx="68">
                  <c:v>350.04918291156918</c:v>
                </c:pt>
                <c:pt idx="69">
                  <c:v>363.24100931653732</c:v>
                </c:pt>
                <c:pt idx="70">
                  <c:v>376.60563437553452</c:v>
                </c:pt>
                <c:pt idx="71">
                  <c:v>390.12670527106991</c:v>
                </c:pt>
                <c:pt idx="72">
                  <c:v>403.78714049558562</c:v>
                </c:pt>
                <c:pt idx="73">
                  <c:v>417.56922302256942</c:v>
                </c:pt>
                <c:pt idx="74">
                  <c:v>431.45464543174859</c:v>
                </c:pt>
                <c:pt idx="75">
                  <c:v>445.42457270222934</c:v>
                </c:pt>
                <c:pt idx="76">
                  <c:v>459.459756405588</c:v>
                </c:pt>
                <c:pt idx="77">
                  <c:v>473.54062158236741</c:v>
                </c:pt>
                <c:pt idx="78">
                  <c:v>487.64739382421408</c:v>
                </c:pt>
                <c:pt idx="79">
                  <c:v>501.76021755725418</c:v>
                </c:pt>
                <c:pt idx="80">
                  <c:v>515.85927355070271</c:v>
                </c:pt>
                <c:pt idx="81">
                  <c:v>529.92488018208235</c:v>
                </c:pt>
                <c:pt idx="82">
                  <c:v>543.93758133456913</c:v>
                </c:pt>
                <c:pt idx="83">
                  <c:v>557.87824942875727</c:v>
                </c:pt>
                <c:pt idx="84">
                  <c:v>571.72817811745426</c:v>
                </c:pt>
                <c:pt idx="85">
                  <c:v>585.46917279679406</c:v>
                </c:pt>
                <c:pt idx="86">
                  <c:v>599.08363327265511</c:v>
                </c:pt>
                <c:pt idx="87">
                  <c:v>612.55463716999657</c:v>
                </c:pt>
                <c:pt idx="88">
                  <c:v>625.86601347016904</c:v>
                </c:pt>
                <c:pt idx="89">
                  <c:v>639.00240306223191</c:v>
                </c:pt>
                <c:pt idx="90">
                  <c:v>651.94930916793919</c:v>
                </c:pt>
                <c:pt idx="91">
                  <c:v>664.69314690479757</c:v>
                </c:pt>
                <c:pt idx="92">
                  <c:v>677.22128131705688</c:v>
                </c:pt>
                <c:pt idx="93">
                  <c:v>689.52205795321527</c:v>
                </c:pt>
                <c:pt idx="94">
                  <c:v>701.5848246270715</c:v>
                </c:pt>
                <c:pt idx="95">
                  <c:v>713.39994831388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5</c:v>
                </c:pt>
                <c:pt idx="21">
                  <c:v>16</c:v>
                </c:pt>
                <c:pt idx="22">
                  <c:v>18</c:v>
                </c:pt>
                <c:pt idx="23">
                  <c:v>21</c:v>
                </c:pt>
                <c:pt idx="24">
                  <c:v>22</c:v>
                </c:pt>
                <c:pt idx="25">
                  <c:v>26</c:v>
                </c:pt>
                <c:pt idx="26">
                  <c:v>29</c:v>
                </c:pt>
                <c:pt idx="27">
                  <c:v>31</c:v>
                </c:pt>
                <c:pt idx="28">
                  <c:v>32</c:v>
                </c:pt>
                <c:pt idx="29">
                  <c:v>36</c:v>
                </c:pt>
                <c:pt idx="30">
                  <c:v>38</c:v>
                </c:pt>
                <c:pt idx="31">
                  <c:v>42</c:v>
                </c:pt>
                <c:pt idx="32">
                  <c:v>44</c:v>
                </c:pt>
                <c:pt idx="33">
                  <c:v>45</c:v>
                </c:pt>
                <c:pt idx="34">
                  <c:v>51</c:v>
                </c:pt>
                <c:pt idx="35">
                  <c:v>56</c:v>
                </c:pt>
                <c:pt idx="36">
                  <c:v>60</c:v>
                </c:pt>
                <c:pt idx="37">
                  <c:v>65</c:v>
                </c:pt>
                <c:pt idx="38">
                  <c:v>71</c:v>
                </c:pt>
                <c:pt idx="39">
                  <c:v>78</c:v>
                </c:pt>
                <c:pt idx="40">
                  <c:v>82</c:v>
                </c:pt>
                <c:pt idx="41">
                  <c:v>87</c:v>
                </c:pt>
                <c:pt idx="42">
                  <c:v>92</c:v>
                </c:pt>
                <c:pt idx="43">
                  <c:v>93</c:v>
                </c:pt>
                <c:pt idx="44">
                  <c:v>96</c:v>
                </c:pt>
                <c:pt idx="45">
                  <c:v>104</c:v>
                </c:pt>
                <c:pt idx="46">
                  <c:v>113</c:v>
                </c:pt>
                <c:pt idx="47">
                  <c:v>119</c:v>
                </c:pt>
                <c:pt idx="48">
                  <c:v>127</c:v>
                </c:pt>
                <c:pt idx="49">
                  <c:v>135</c:v>
                </c:pt>
                <c:pt idx="50">
                  <c:v>143</c:v>
                </c:pt>
                <c:pt idx="51">
                  <c:v>148</c:v>
                </c:pt>
                <c:pt idx="52">
                  <c:v>159</c:v>
                </c:pt>
                <c:pt idx="53">
                  <c:v>166</c:v>
                </c:pt>
                <c:pt idx="54">
                  <c:v>170</c:v>
                </c:pt>
                <c:pt idx="55">
                  <c:v>177</c:v>
                </c:pt>
                <c:pt idx="56">
                  <c:v>185</c:v>
                </c:pt>
                <c:pt idx="57">
                  <c:v>191</c:v>
                </c:pt>
                <c:pt idx="58">
                  <c:v>195</c:v>
                </c:pt>
                <c:pt idx="59">
                  <c:v>204</c:v>
                </c:pt>
                <c:pt idx="60">
                  <c:v>213</c:v>
                </c:pt>
                <c:pt idx="61">
                  <c:v>219</c:v>
                </c:pt>
                <c:pt idx="62">
                  <c:v>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2.778263399360526</c:v>
                </c:pt>
                <c:pt idx="43">
                  <c:v>98.700691023082328</c:v>
                </c:pt>
                <c:pt idx="44">
                  <c:v>104.74767335855995</c:v>
                </c:pt>
                <c:pt idx="45">
                  <c:v>110.88428467912615</c:v>
                </c:pt>
                <c:pt idx="46">
                  <c:v>117.23603161839631</c:v>
                </c:pt>
                <c:pt idx="47">
                  <c:v>123.73338147239157</c:v>
                </c:pt>
                <c:pt idx="48">
                  <c:v>130.39348579725186</c:v>
                </c:pt>
                <c:pt idx="49">
                  <c:v>137.1658513935771</c:v>
                </c:pt>
                <c:pt idx="50">
                  <c:v>144.03363671936188</c:v>
                </c:pt>
                <c:pt idx="51">
                  <c:v>151.00334089000921</c:v>
                </c:pt>
                <c:pt idx="52">
                  <c:v>158.06204109040002</c:v>
                </c:pt>
                <c:pt idx="53">
                  <c:v>165.24536214361501</c:v>
                </c:pt>
                <c:pt idx="54">
                  <c:v>172.52138191231819</c:v>
                </c:pt>
                <c:pt idx="55">
                  <c:v>179.88051538476208</c:v>
                </c:pt>
                <c:pt idx="56">
                  <c:v>187.31228033613934</c:v>
                </c:pt>
                <c:pt idx="57">
                  <c:v>194.81498181078712</c:v>
                </c:pt>
                <c:pt idx="58">
                  <c:v>202.37731275311262</c:v>
                </c:pt>
                <c:pt idx="59">
                  <c:v>209.98688063065697</c:v>
                </c:pt>
                <c:pt idx="60">
                  <c:v>217.63973682166815</c:v>
                </c:pt>
                <c:pt idx="61">
                  <c:v>225.35395949058167</c:v>
                </c:pt>
                <c:pt idx="62">
                  <c:v>233.11032919206377</c:v>
                </c:pt>
                <c:pt idx="63">
                  <c:v>240.89999337570254</c:v>
                </c:pt>
                <c:pt idx="64">
                  <c:v>248.71659215693376</c:v>
                </c:pt>
                <c:pt idx="65">
                  <c:v>256.55378200764619</c:v>
                </c:pt>
                <c:pt idx="66">
                  <c:v>264.40527411004609</c:v>
                </c:pt>
                <c:pt idx="67">
                  <c:v>272.26466202597555</c:v>
                </c:pt>
                <c:pt idx="68">
                  <c:v>280.12546368569338</c:v>
                </c:pt>
                <c:pt idx="69">
                  <c:v>287.98114181929634</c:v>
                </c:pt>
                <c:pt idx="70">
                  <c:v>295.82512998960465</c:v>
                </c:pt>
                <c:pt idx="71">
                  <c:v>303.65084722123891</c:v>
                </c:pt>
                <c:pt idx="72">
                  <c:v>311.45179661115742</c:v>
                </c:pt>
                <c:pt idx="73">
                  <c:v>319.22159305673347</c:v>
                </c:pt>
                <c:pt idx="74">
                  <c:v>326.95396139404613</c:v>
                </c:pt>
                <c:pt idx="75">
                  <c:v>334.6427348516612</c:v>
                </c:pt>
                <c:pt idx="76">
                  <c:v>342.28188350069786</c:v>
                </c:pt>
                <c:pt idx="77">
                  <c:v>349.86552288659209</c:v>
                </c:pt>
                <c:pt idx="78">
                  <c:v>357.38793916422884</c:v>
                </c:pt>
                <c:pt idx="79">
                  <c:v>364.84360893944034</c:v>
                </c:pt>
                <c:pt idx="80">
                  <c:v>372.22722118369671</c:v>
                </c:pt>
                <c:pt idx="81">
                  <c:v>379.53368908600396</c:v>
                </c:pt>
                <c:pt idx="82">
                  <c:v>386.75814901350435</c:v>
                </c:pt>
                <c:pt idx="83">
                  <c:v>393.89597173699764</c:v>
                </c:pt>
                <c:pt idx="84">
                  <c:v>400.94277006164555</c:v>
                </c:pt>
                <c:pt idx="85">
                  <c:v>407.89440595566873</c:v>
                </c:pt>
                <c:pt idx="86">
                  <c:v>414.74699465113957</c:v>
                </c:pt>
                <c:pt idx="87">
                  <c:v>421.49691261309596</c:v>
                </c:pt>
                <c:pt idx="88">
                  <c:v>428.14080340801422</c:v>
                </c:pt>
                <c:pt idx="89">
                  <c:v>434.67557729456365</c:v>
                </c:pt>
                <c:pt idx="90">
                  <c:v>441.09840791666358</c:v>
                </c:pt>
                <c:pt idx="91">
                  <c:v>447.406733641708</c:v>
                </c:pt>
                <c:pt idx="92">
                  <c:v>453.59825569594642</c:v>
                </c:pt>
                <c:pt idx="93">
                  <c:v>459.67093587151578</c:v>
                </c:pt>
                <c:pt idx="94">
                  <c:v>465.62299274317581</c:v>
                </c:pt>
                <c:pt idx="95">
                  <c:v>471.45290703958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2.86040138331235</c:v>
                </c:pt>
                <c:pt idx="43">
                  <c:v>98.902903074240712</c:v>
                </c:pt>
                <c:pt idx="44">
                  <c:v>105.11411211044843</c:v>
                </c:pt>
                <c:pt idx="45">
                  <c:v>111.46520574508935</c:v>
                </c:pt>
                <c:pt idx="46">
                  <c:v>118.08746918490725</c:v>
                </c:pt>
                <c:pt idx="47">
                  <c:v>124.91726233992111</c:v>
                </c:pt>
                <c:pt idx="48">
                  <c:v>131.97697463243694</c:v>
                </c:pt>
                <c:pt idx="49">
                  <c:v>139.22097470414752</c:v>
                </c:pt>
                <c:pt idx="50">
                  <c:v>146.63679235830085</c:v>
                </c:pt>
                <c:pt idx="51">
                  <c:v>154.23466089314587</c:v>
                </c:pt>
                <c:pt idx="52">
                  <c:v>162.00497643996343</c:v>
                </c:pt>
                <c:pt idx="53">
                  <c:v>169.98613685033493</c:v>
                </c:pt>
                <c:pt idx="54">
                  <c:v>178.14894403031843</c:v>
                </c:pt>
                <c:pt idx="55">
                  <c:v>186.48585031083093</c:v>
                </c:pt>
                <c:pt idx="56">
                  <c:v>194.98788489063213</c:v>
                </c:pt>
                <c:pt idx="57">
                  <c:v>203.65440770960475</c:v>
                </c:pt>
                <c:pt idx="58">
                  <c:v>212.47479326545013</c:v>
                </c:pt>
                <c:pt idx="59">
                  <c:v>221.43692462864061</c:v>
                </c:pt>
                <c:pt idx="60">
                  <c:v>230.53670540972971</c:v>
                </c:pt>
                <c:pt idx="61">
                  <c:v>239.79165261965906</c:v>
                </c:pt>
                <c:pt idx="62">
                  <c:v>249.18174212907749</c:v>
                </c:pt>
                <c:pt idx="63">
                  <c:v>258.69682409050944</c:v>
                </c:pt>
                <c:pt idx="64">
                  <c:v>268.32878953618672</c:v>
                </c:pt>
                <c:pt idx="65">
                  <c:v>278.06918966619151</c:v>
                </c:pt>
                <c:pt idx="66">
                  <c:v>287.90930122832867</c:v>
                </c:pt>
                <c:pt idx="67">
                  <c:v>297.83990121341071</c:v>
                </c:pt>
                <c:pt idx="68">
                  <c:v>307.85133640836784</c:v>
                </c:pt>
                <c:pt idx="69">
                  <c:v>317.93356027922414</c:v>
                </c:pt>
                <c:pt idx="70">
                  <c:v>328.07618052181385</c:v>
                </c:pt>
                <c:pt idx="71">
                  <c:v>338.26849033070812</c:v>
                </c:pt>
                <c:pt idx="72">
                  <c:v>348.49962272085691</c:v>
                </c:pt>
                <c:pt idx="73">
                  <c:v>358.75860503800595</c:v>
                </c:pt>
                <c:pt idx="74">
                  <c:v>369.03437456632935</c:v>
                </c:pt>
                <c:pt idx="75">
                  <c:v>379.31579766884016</c:v>
                </c:pt>
                <c:pt idx="76">
                  <c:v>389.59173127268969</c:v>
                </c:pt>
                <c:pt idx="77">
                  <c:v>399.85105749163284</c:v>
                </c:pt>
                <c:pt idx="78">
                  <c:v>410.0827418263234</c:v>
                </c:pt>
                <c:pt idx="79">
                  <c:v>420.27588444669527</c:v>
                </c:pt>
                <c:pt idx="80">
                  <c:v>430.41977509854553</c:v>
                </c:pt>
                <c:pt idx="81">
                  <c:v>440.50393365551326</c:v>
                </c:pt>
                <c:pt idx="82">
                  <c:v>450.51813285864984</c:v>
                </c:pt>
                <c:pt idx="83">
                  <c:v>460.45243764982553</c:v>
                </c:pt>
                <c:pt idx="84">
                  <c:v>470.29723849571093</c:v>
                </c:pt>
                <c:pt idx="85">
                  <c:v>480.04328331785723</c:v>
                </c:pt>
                <c:pt idx="86">
                  <c:v>489.68170400225375</c:v>
                </c:pt>
                <c:pt idx="87">
                  <c:v>499.20404727198371</c:v>
                </c:pt>
                <c:pt idx="88">
                  <c:v>508.60230109045762</c:v>
                </c:pt>
                <c:pt idx="89">
                  <c:v>517.8689110023638</c:v>
                </c:pt>
                <c:pt idx="90">
                  <c:v>526.99679094640646</c:v>
                </c:pt>
                <c:pt idx="91">
                  <c:v>535.97933887280408</c:v>
                </c:pt>
                <c:pt idx="92">
                  <c:v>544.81044624489414</c:v>
                </c:pt>
                <c:pt idx="93">
                  <c:v>553.48450527140199</c:v>
                </c:pt>
                <c:pt idx="94">
                  <c:v>561.99641238630238</c:v>
                </c:pt>
                <c:pt idx="95">
                  <c:v>570.34157211297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2.94300494596429</c:v>
                </c:pt>
                <c:pt idx="43">
                  <c:v>99.10683767990831</c:v>
                </c:pt>
                <c:pt idx="44">
                  <c:v>105.48490604764396</c:v>
                </c:pt>
                <c:pt idx="45">
                  <c:v>112.05523286076148</c:v>
                </c:pt>
                <c:pt idx="46">
                  <c:v>118.95577269283899</c:v>
                </c:pt>
                <c:pt idx="47">
                  <c:v>126.12980890208485</c:v>
                </c:pt>
                <c:pt idx="48">
                  <c:v>133.60612811720415</c:v>
                </c:pt>
                <c:pt idx="49">
                  <c:v>141.34524031046402</c:v>
                </c:pt>
                <c:pt idx="50">
                  <c:v>149.34042786874119</c:v>
                </c:pt>
                <c:pt idx="51">
                  <c:v>157.60712495339152</c:v>
                </c:pt>
                <c:pt idx="52">
                  <c:v>166.14057783334636</c:v>
                </c:pt>
                <c:pt idx="53">
                  <c:v>174.98352466063631</c:v>
                </c:pt>
                <c:pt idx="54">
                  <c:v>184.11106983391096</c:v>
                </c:pt>
                <c:pt idx="55">
                  <c:v>193.51926412165008</c:v>
                </c:pt>
                <c:pt idx="56">
                  <c:v>203.20217607506521</c:v>
                </c:pt>
                <c:pt idx="57">
                  <c:v>213.16168224764652</c:v>
                </c:pt>
                <c:pt idx="58">
                  <c:v>223.38921386452671</c:v>
                </c:pt>
                <c:pt idx="59">
                  <c:v>233.8741923118192</c:v>
                </c:pt>
                <c:pt idx="60">
                  <c:v>244.61349026610384</c:v>
                </c:pt>
                <c:pt idx="61">
                  <c:v>255.62501128947</c:v>
                </c:pt>
                <c:pt idx="62">
                  <c:v>266.88868110210763</c:v>
                </c:pt>
                <c:pt idx="63">
                  <c:v>278.39359633752565</c:v>
                </c:pt>
                <c:pt idx="64">
                  <c:v>290.1302147867724</c:v>
                </c:pt>
                <c:pt idx="65">
                  <c:v>302.08807148607923</c:v>
                </c:pt>
                <c:pt idx="66">
                  <c:v>314.25586126728058</c:v>
                </c:pt>
                <c:pt idx="67">
                  <c:v>326.62113652206574</c:v>
                </c:pt>
                <c:pt idx="68">
                  <c:v>339.17040276488478</c:v>
                </c:pt>
                <c:pt idx="69">
                  <c:v>351.88917087022111</c:v>
                </c:pt>
                <c:pt idx="70">
                  <c:v>364.76202978153219</c:v>
                </c:pt>
                <c:pt idx="71">
                  <c:v>377.77270019275051</c:v>
                </c:pt>
                <c:pt idx="72">
                  <c:v>390.90426259315564</c:v>
                </c:pt>
                <c:pt idx="73">
                  <c:v>404.13925296463407</c:v>
                </c:pt>
                <c:pt idx="74">
                  <c:v>417.45971124439552</c:v>
                </c:pt>
                <c:pt idx="75">
                  <c:v>430.84724008987359</c:v>
                </c:pt>
                <c:pt idx="76">
                  <c:v>444.28312358395402</c:v>
                </c:pt>
                <c:pt idx="77">
                  <c:v>457.74841246477439</c:v>
                </c:pt>
                <c:pt idx="78">
                  <c:v>471.2240434000575</c:v>
                </c:pt>
                <c:pt idx="79">
                  <c:v>484.69095057067358</c:v>
                </c:pt>
                <c:pt idx="80">
                  <c:v>498.13018385945884</c:v>
                </c:pt>
                <c:pt idx="81">
                  <c:v>511.52300786323281</c:v>
                </c:pt>
                <c:pt idx="82">
                  <c:v>524.85097716601206</c:v>
                </c:pt>
                <c:pt idx="83">
                  <c:v>538.09603318633231</c:v>
                </c:pt>
                <c:pt idx="84">
                  <c:v>551.24059128639544</c:v>
                </c:pt>
                <c:pt idx="85">
                  <c:v>564.26762431421207</c:v>
                </c:pt>
                <c:pt idx="86">
                  <c:v>577.16073636537942</c:v>
                </c:pt>
                <c:pt idx="87">
                  <c:v>589.90423977245587</c:v>
                </c:pt>
                <c:pt idx="88">
                  <c:v>602.48322277435591</c:v>
                </c:pt>
                <c:pt idx="89">
                  <c:v>614.88360034410175</c:v>
                </c:pt>
                <c:pt idx="90">
                  <c:v>627.09215396009267</c:v>
                </c:pt>
                <c:pt idx="91">
                  <c:v>639.09657399344405</c:v>
                </c:pt>
                <c:pt idx="92">
                  <c:v>650.88548997071143</c:v>
                </c:pt>
                <c:pt idx="93">
                  <c:v>662.44849389770025</c:v>
                </c:pt>
                <c:pt idx="94">
                  <c:v>673.77615468097827</c:v>
                </c:pt>
                <c:pt idx="95">
                  <c:v>684.86002938618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9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6</c:v>
                </c:pt>
                <c:pt idx="9">
                  <c:v>6</c:v>
                </c:pt>
                <c:pt idx="10">
                  <c:v>11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4">
                  <c:v>11</c:v>
                </c:pt>
                <c:pt idx="15">
                  <c:v>14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2</c:v>
                </c:pt>
                <c:pt idx="20">
                  <c:v>15</c:v>
                </c:pt>
                <c:pt idx="21">
                  <c:v>14</c:v>
                </c:pt>
                <c:pt idx="22">
                  <c:v>12</c:v>
                </c:pt>
                <c:pt idx="23">
                  <c:v>15</c:v>
                </c:pt>
                <c:pt idx="24">
                  <c:v>14</c:v>
                </c:pt>
                <c:pt idx="25">
                  <c:v>14</c:v>
                </c:pt>
                <c:pt idx="26">
                  <c:v>20</c:v>
                </c:pt>
                <c:pt idx="27">
                  <c:v>21</c:v>
                </c:pt>
                <c:pt idx="28">
                  <c:v>19</c:v>
                </c:pt>
                <c:pt idx="29">
                  <c:v>21</c:v>
                </c:pt>
                <c:pt idx="30">
                  <c:v>22</c:v>
                </c:pt>
                <c:pt idx="31">
                  <c:v>29</c:v>
                </c:pt>
                <c:pt idx="32">
                  <c:v>31</c:v>
                </c:pt>
                <c:pt idx="33">
                  <c:v>30</c:v>
                </c:pt>
                <c:pt idx="34">
                  <c:v>33</c:v>
                </c:pt>
                <c:pt idx="35">
                  <c:v>37</c:v>
                </c:pt>
                <c:pt idx="36">
                  <c:v>38</c:v>
                </c:pt>
                <c:pt idx="37">
                  <c:v>40</c:v>
                </c:pt>
                <c:pt idx="38">
                  <c:v>43</c:v>
                </c:pt>
                <c:pt idx="39">
                  <c:v>40</c:v>
                </c:pt>
                <c:pt idx="40">
                  <c:v>36</c:v>
                </c:pt>
                <c:pt idx="41">
                  <c:v>38</c:v>
                </c:pt>
                <c:pt idx="42">
                  <c:v>43</c:v>
                </c:pt>
                <c:pt idx="43">
                  <c:v>44</c:v>
                </c:pt>
                <c:pt idx="44">
                  <c:v>50</c:v>
                </c:pt>
                <c:pt idx="45">
                  <c:v>47</c:v>
                </c:pt>
                <c:pt idx="46">
                  <c:v>49</c:v>
                </c:pt>
                <c:pt idx="47">
                  <c:v>48</c:v>
                </c:pt>
                <c:pt idx="48">
                  <c:v>47</c:v>
                </c:pt>
                <c:pt idx="49">
                  <c:v>48</c:v>
                </c:pt>
                <c:pt idx="50">
                  <c:v>55</c:v>
                </c:pt>
                <c:pt idx="51">
                  <c:v>58</c:v>
                </c:pt>
                <c:pt idx="52">
                  <c:v>53</c:v>
                </c:pt>
                <c:pt idx="53">
                  <c:v>50</c:v>
                </c:pt>
                <c:pt idx="54">
                  <c:v>56</c:v>
                </c:pt>
                <c:pt idx="55">
                  <c:v>58</c:v>
                </c:pt>
                <c:pt idx="56">
                  <c:v>68</c:v>
                </c:pt>
                <c:pt idx="57">
                  <c:v>65</c:v>
                </c:pt>
                <c:pt idx="58">
                  <c:v>60</c:v>
                </c:pt>
                <c:pt idx="59">
                  <c:v>68</c:v>
                </c:pt>
                <c:pt idx="60">
                  <c:v>59</c:v>
                </c:pt>
                <c:pt idx="61">
                  <c:v>58</c:v>
                </c:pt>
                <c:pt idx="6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.887148138932574</c:v>
                </c:pt>
                <c:pt idx="43">
                  <c:v>35.638831270792288</c:v>
                </c:pt>
                <c:pt idx="44">
                  <c:v>37.337446865441443</c:v>
                </c:pt>
                <c:pt idx="45">
                  <c:v>38.943367031807213</c:v>
                </c:pt>
                <c:pt idx="46">
                  <c:v>40.530684447728277</c:v>
                </c:pt>
                <c:pt idx="47">
                  <c:v>42.125272270681293</c:v>
                </c:pt>
                <c:pt idx="48">
                  <c:v>43.68999327124741</c:v>
                </c:pt>
                <c:pt idx="49">
                  <c:v>45.203993375462289</c:v>
                </c:pt>
                <c:pt idx="50">
                  <c:v>46.5762996807793</c:v>
                </c:pt>
                <c:pt idx="51">
                  <c:v>47.921849110616307</c:v>
                </c:pt>
                <c:pt idx="52">
                  <c:v>49.226670065090048</c:v>
                </c:pt>
                <c:pt idx="53">
                  <c:v>50.516977608216621</c:v>
                </c:pt>
                <c:pt idx="54">
                  <c:v>51.692558241583413</c:v>
                </c:pt>
                <c:pt idx="55">
                  <c:v>52.811068524657259</c:v>
                </c:pt>
                <c:pt idx="56">
                  <c:v>53.915088963966994</c:v>
                </c:pt>
                <c:pt idx="57">
                  <c:v>54.949656826534508</c:v>
                </c:pt>
                <c:pt idx="58">
                  <c:v>55.923901283643474</c:v>
                </c:pt>
                <c:pt idx="59">
                  <c:v>56.836007135318994</c:v>
                </c:pt>
                <c:pt idx="60">
                  <c:v>57.721368627660134</c:v>
                </c:pt>
                <c:pt idx="61">
                  <c:v>58.535803020443851</c:v>
                </c:pt>
                <c:pt idx="62">
                  <c:v>59.282620523203782</c:v>
                </c:pt>
                <c:pt idx="63">
                  <c:v>59.977936240106104</c:v>
                </c:pt>
                <c:pt idx="64">
                  <c:v>60.636109847114966</c:v>
                </c:pt>
                <c:pt idx="65">
                  <c:v>61.224771167476518</c:v>
                </c:pt>
                <c:pt idx="66">
                  <c:v>61.749095468411454</c:v>
                </c:pt>
                <c:pt idx="67">
                  <c:v>62.220617777287671</c:v>
                </c:pt>
                <c:pt idx="68">
                  <c:v>62.642007975926958</c:v>
                </c:pt>
                <c:pt idx="69">
                  <c:v>63.009500134960049</c:v>
                </c:pt>
                <c:pt idx="70">
                  <c:v>63.320243993368699</c:v>
                </c:pt>
                <c:pt idx="71">
                  <c:v>63.584800679573391</c:v>
                </c:pt>
                <c:pt idx="72">
                  <c:v>63.792079163904759</c:v>
                </c:pt>
                <c:pt idx="73">
                  <c:v>63.942602306167728</c:v>
                </c:pt>
                <c:pt idx="74">
                  <c:v>64.030382381099088</c:v>
                </c:pt>
                <c:pt idx="75">
                  <c:v>64.064908393625544</c:v>
                </c:pt>
                <c:pt idx="76">
                  <c:v>64.046483119269794</c:v>
                </c:pt>
                <c:pt idx="77">
                  <c:v>63.975041222153713</c:v>
                </c:pt>
                <c:pt idx="78">
                  <c:v>63.84852975375783</c:v>
                </c:pt>
                <c:pt idx="79">
                  <c:v>63.66562767882489</c:v>
                </c:pt>
                <c:pt idx="80">
                  <c:v>63.429344366167314</c:v>
                </c:pt>
                <c:pt idx="81">
                  <c:v>63.141295307272287</c:v>
                </c:pt>
                <c:pt idx="82">
                  <c:v>62.802097692562384</c:v>
                </c:pt>
                <c:pt idx="83">
                  <c:v>62.411876512836727</c:v>
                </c:pt>
                <c:pt idx="84">
                  <c:v>61.972331247402472</c:v>
                </c:pt>
                <c:pt idx="85">
                  <c:v>61.485046624919995</c:v>
                </c:pt>
                <c:pt idx="86">
                  <c:v>60.951671109933173</c:v>
                </c:pt>
                <c:pt idx="87">
                  <c:v>60.373584799708169</c:v>
                </c:pt>
                <c:pt idx="88">
                  <c:v>59.752645750819454</c:v>
                </c:pt>
                <c:pt idx="89">
                  <c:v>59.090512903133174</c:v>
                </c:pt>
                <c:pt idx="90">
                  <c:v>58.388749615023329</c:v>
                </c:pt>
                <c:pt idx="91">
                  <c:v>57.649279251387156</c:v>
                </c:pt>
                <c:pt idx="92">
                  <c:v>56.874240668127513</c:v>
                </c:pt>
                <c:pt idx="93">
                  <c:v>56.065691867040726</c:v>
                </c:pt>
                <c:pt idx="94">
                  <c:v>55.22566018463796</c:v>
                </c:pt>
                <c:pt idx="95">
                  <c:v>54.356252735505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.954123440796977</c:v>
                </c:pt>
                <c:pt idx="43">
                  <c:v>35.799593969815305</c:v>
                </c:pt>
                <c:pt idx="44">
                  <c:v>37.622129674711189</c:v>
                </c:pt>
                <c:pt idx="45">
                  <c:v>39.385025468264033</c:v>
                </c:pt>
                <c:pt idx="46">
                  <c:v>41.164251245852483</c:v>
                </c:pt>
                <c:pt idx="47">
                  <c:v>42.988643892282653</c:v>
                </c:pt>
                <c:pt idx="48">
                  <c:v>44.82166337329113</c:v>
                </c:pt>
                <c:pt idx="49">
                  <c:v>46.643820292770457</c:v>
                </c:pt>
                <c:pt idx="50">
                  <c:v>48.364058238034708</c:v>
                </c:pt>
                <c:pt idx="51">
                  <c:v>50.097666950800729</c:v>
                </c:pt>
                <c:pt idx="52">
                  <c:v>51.830277563870062</c:v>
                </c:pt>
                <c:pt idx="53">
                  <c:v>53.586967166043976</c:v>
                </c:pt>
                <c:pt idx="54">
                  <c:v>55.266525424812663</c:v>
                </c:pt>
                <c:pt idx="55">
                  <c:v>56.924827914815666</c:v>
                </c:pt>
                <c:pt idx="56">
                  <c:v>58.60290501455777</c:v>
                </c:pt>
                <c:pt idx="57">
                  <c:v>60.243563835703014</c:v>
                </c:pt>
                <c:pt idx="58">
                  <c:v>61.85347097518742</c:v>
                </c:pt>
                <c:pt idx="59">
                  <c:v>63.427009019929116</c:v>
                </c:pt>
                <c:pt idx="60">
                  <c:v>64.997340975900173</c:v>
                </c:pt>
                <c:pt idx="61">
                  <c:v>66.516374001447232</c:v>
                </c:pt>
                <c:pt idx="62">
                  <c:v>67.984546774979549</c:v>
                </c:pt>
                <c:pt idx="63">
                  <c:v>69.415177588191057</c:v>
                </c:pt>
                <c:pt idx="64">
                  <c:v>70.819131518365651</c:v>
                </c:pt>
                <c:pt idx="65">
                  <c:v>72.160445065731608</c:v>
                </c:pt>
                <c:pt idx="66">
                  <c:v>73.441047439698536</c:v>
                </c:pt>
                <c:pt idx="67">
                  <c:v>74.669568628707381</c:v>
                </c:pt>
                <c:pt idx="68">
                  <c:v>75.845416664666473</c:v>
                </c:pt>
                <c:pt idx="69">
                  <c:v>76.961597466673169</c:v>
                </c:pt>
                <c:pt idx="70">
                  <c:v>78.011922928232835</c:v>
                </c:pt>
                <c:pt idx="71">
                  <c:v>79.003716354914218</c:v>
                </c:pt>
                <c:pt idx="72">
                  <c:v>79.922542503423216</c:v>
                </c:pt>
                <c:pt idx="73">
                  <c:v>80.766020913113636</c:v>
                </c:pt>
                <c:pt idx="74">
                  <c:v>81.525239270278206</c:v>
                </c:pt>
                <c:pt idx="75">
                  <c:v>82.207105318331173</c:v>
                </c:pt>
                <c:pt idx="76">
                  <c:v>82.809347056418986</c:v>
                </c:pt>
                <c:pt idx="77">
                  <c:v>83.329483701253935</c:v>
                </c:pt>
                <c:pt idx="78">
                  <c:v>83.763005734457721</c:v>
                </c:pt>
                <c:pt idx="79">
                  <c:v>84.106440509201235</c:v>
                </c:pt>
                <c:pt idx="80">
                  <c:v>84.361049083170116</c:v>
                </c:pt>
                <c:pt idx="81">
                  <c:v>84.526775842723907</c:v>
                </c:pt>
                <c:pt idx="82">
                  <c:v>84.602781995802218</c:v>
                </c:pt>
                <c:pt idx="83">
                  <c:v>84.587955829462487</c:v>
                </c:pt>
                <c:pt idx="84">
                  <c:v>84.482979363454604</c:v>
                </c:pt>
                <c:pt idx="85">
                  <c:v>84.288646814899408</c:v>
                </c:pt>
                <c:pt idx="86">
                  <c:v>84.006041523829822</c:v>
                </c:pt>
                <c:pt idx="87">
                  <c:v>83.63620443905404</c:v>
                </c:pt>
                <c:pt idx="88">
                  <c:v>83.180875678566906</c:v>
                </c:pt>
                <c:pt idx="89">
                  <c:v>82.641811475602296</c:v>
                </c:pt>
                <c:pt idx="90">
                  <c:v>82.020878626391777</c:v>
                </c:pt>
                <c:pt idx="91">
                  <c:v>81.320502070985711</c:v>
                </c:pt>
                <c:pt idx="92">
                  <c:v>80.543512998024923</c:v>
                </c:pt>
                <c:pt idx="93">
                  <c:v>79.692842265204035</c:v>
                </c:pt>
                <c:pt idx="94">
                  <c:v>78.771557755546453</c:v>
                </c:pt>
                <c:pt idx="95">
                  <c:v>77.782956914890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.021478791378399</c:v>
                </c:pt>
                <c:pt idx="43">
                  <c:v>35.961738261975597</c:v>
                </c:pt>
                <c:pt idx="44">
                  <c:v>37.910254119071695</c:v>
                </c:pt>
                <c:pt idx="45">
                  <c:v>39.833782322867499</c:v>
                </c:pt>
                <c:pt idx="46">
                  <c:v>41.810792331210408</c:v>
                </c:pt>
                <c:pt idx="47">
                  <c:v>43.873784820687916</c:v>
                </c:pt>
                <c:pt idx="48">
                  <c:v>45.987569926740598</c:v>
                </c:pt>
                <c:pt idx="49">
                  <c:v>48.134824138053808</c:v>
                </c:pt>
                <c:pt idx="50">
                  <c:v>50.225231862463147</c:v>
                </c:pt>
                <c:pt idx="51">
                  <c:v>52.375272988919427</c:v>
                </c:pt>
                <c:pt idx="52">
                  <c:v>54.5710093641611</c:v>
                </c:pt>
                <c:pt idx="53">
                  <c:v>56.837173899212111</c:v>
                </c:pt>
                <c:pt idx="54">
                  <c:v>59.072300959130018</c:v>
                </c:pt>
                <c:pt idx="55">
                  <c:v>61.331152252165666</c:v>
                </c:pt>
                <c:pt idx="56">
                  <c:v>63.653793517736233</c:v>
                </c:pt>
                <c:pt idx="57">
                  <c:v>65.981281107632299</c:v>
                </c:pt>
                <c:pt idx="58">
                  <c:v>68.318181960330975</c:v>
                </c:pt>
                <c:pt idx="59">
                  <c:v>70.65530239485517</c:v>
                </c:pt>
                <c:pt idx="60">
                  <c:v>73.023652454585118</c:v>
                </c:pt>
                <c:pt idx="61">
                  <c:v>75.371139680037658</c:v>
                </c:pt>
                <c:pt idx="62">
                  <c:v>77.695070771709169</c:v>
                </c:pt>
                <c:pt idx="63">
                  <c:v>80.005532959353758</c:v>
                </c:pt>
                <c:pt idx="64">
                  <c:v>82.309285007169393</c:v>
                </c:pt>
                <c:pt idx="65">
                  <c:v>84.565994739086364</c:v>
                </c:pt>
                <c:pt idx="66">
                  <c:v>86.773412430753964</c:v>
                </c:pt>
                <c:pt idx="67">
                  <c:v>88.936167319762646</c:v>
                </c:pt>
                <c:pt idx="68">
                  <c:v>91.049158245486495</c:v>
                </c:pt>
                <c:pt idx="69">
                  <c:v>93.100777835451964</c:v>
                </c:pt>
                <c:pt idx="70">
                  <c:v>95.079992837482877</c:v>
                </c:pt>
                <c:pt idx="71">
                  <c:v>96.98927671221108</c:v>
                </c:pt>
                <c:pt idx="72">
                  <c:v>98.809157525405908</c:v>
                </c:pt>
                <c:pt idx="73">
                  <c:v>100.53260135321966</c:v>
                </c:pt>
                <c:pt idx="74">
                  <c:v>102.14598280576874</c:v>
                </c:pt>
                <c:pt idx="75">
                  <c:v>103.65182508720774</c:v>
                </c:pt>
                <c:pt idx="76">
                  <c:v>105.04348732625058</c:v>
                </c:pt>
                <c:pt idx="77">
                  <c:v>106.31431241406381</c:v>
                </c:pt>
                <c:pt idx="78">
                  <c:v>107.45562986272719</c:v>
                </c:pt>
                <c:pt idx="79">
                  <c:v>108.46019139051381</c:v>
                </c:pt>
                <c:pt idx="80">
                  <c:v>109.32598907979106</c:v>
                </c:pt>
                <c:pt idx="81">
                  <c:v>110.0498982085378</c:v>
                </c:pt>
                <c:pt idx="82">
                  <c:v>110.62836639714956</c:v>
                </c:pt>
                <c:pt idx="83">
                  <c:v>111.05794436757895</c:v>
                </c:pt>
                <c:pt idx="84">
                  <c:v>111.33736631138399</c:v>
                </c:pt>
                <c:pt idx="85">
                  <c:v>111.46588698621306</c:v>
                </c:pt>
                <c:pt idx="86">
                  <c:v>111.44346545141931</c:v>
                </c:pt>
                <c:pt idx="87">
                  <c:v>111.27043982521573</c:v>
                </c:pt>
                <c:pt idx="88">
                  <c:v>110.94826663141963</c:v>
                </c:pt>
                <c:pt idx="89">
                  <c:v>110.47883115785993</c:v>
                </c:pt>
                <c:pt idx="90">
                  <c:v>109.86452952902027</c:v>
                </c:pt>
                <c:pt idx="91">
                  <c:v>109.1087026362037</c:v>
                </c:pt>
                <c:pt idx="92">
                  <c:v>108.21546850201605</c:v>
                </c:pt>
                <c:pt idx="93">
                  <c:v>107.18939493048995</c:v>
                </c:pt>
                <c:pt idx="94">
                  <c:v>106.03551143157968</c:v>
                </c:pt>
                <c:pt idx="95">
                  <c:v>104.75937472136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6</c:v>
                </c:pt>
                <c:pt idx="1">
                  <c:v>17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2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31</c:v>
                </c:pt>
                <c:pt idx="11">
                  <c:v>33</c:v>
                </c:pt>
                <c:pt idx="12">
                  <c:v>35</c:v>
                </c:pt>
                <c:pt idx="13">
                  <c:v>38</c:v>
                </c:pt>
                <c:pt idx="14">
                  <c:v>39</c:v>
                </c:pt>
                <c:pt idx="15">
                  <c:v>39</c:v>
                </c:pt>
                <c:pt idx="16">
                  <c:v>40</c:v>
                </c:pt>
                <c:pt idx="17">
                  <c:v>45</c:v>
                </c:pt>
                <c:pt idx="18">
                  <c:v>48</c:v>
                </c:pt>
                <c:pt idx="19">
                  <c:v>49</c:v>
                </c:pt>
                <c:pt idx="20">
                  <c:v>52</c:v>
                </c:pt>
                <c:pt idx="21">
                  <c:v>56</c:v>
                </c:pt>
                <c:pt idx="22">
                  <c:v>59</c:v>
                </c:pt>
                <c:pt idx="23">
                  <c:v>61</c:v>
                </c:pt>
                <c:pt idx="24">
                  <c:v>64</c:v>
                </c:pt>
                <c:pt idx="25">
                  <c:v>67</c:v>
                </c:pt>
                <c:pt idx="26">
                  <c:v>73</c:v>
                </c:pt>
                <c:pt idx="27">
                  <c:v>76</c:v>
                </c:pt>
                <c:pt idx="28">
                  <c:v>82</c:v>
                </c:pt>
                <c:pt idx="29">
                  <c:v>88</c:v>
                </c:pt>
                <c:pt idx="30">
                  <c:v>94</c:v>
                </c:pt>
                <c:pt idx="31">
                  <c:v>103</c:v>
                </c:pt>
                <c:pt idx="32">
                  <c:v>110</c:v>
                </c:pt>
                <c:pt idx="33">
                  <c:v>118</c:v>
                </c:pt>
                <c:pt idx="34">
                  <c:v>122</c:v>
                </c:pt>
                <c:pt idx="35">
                  <c:v>134</c:v>
                </c:pt>
                <c:pt idx="36">
                  <c:v>137</c:v>
                </c:pt>
                <c:pt idx="37">
                  <c:v>145</c:v>
                </c:pt>
                <c:pt idx="38">
                  <c:v>154</c:v>
                </c:pt>
                <c:pt idx="39">
                  <c:v>163</c:v>
                </c:pt>
                <c:pt idx="40">
                  <c:v>166</c:v>
                </c:pt>
                <c:pt idx="41">
                  <c:v>174</c:v>
                </c:pt>
                <c:pt idx="42">
                  <c:v>182</c:v>
                </c:pt>
                <c:pt idx="43">
                  <c:v>194</c:v>
                </c:pt>
                <c:pt idx="44">
                  <c:v>201</c:v>
                </c:pt>
                <c:pt idx="45">
                  <c:v>210</c:v>
                </c:pt>
                <c:pt idx="46">
                  <c:v>219</c:v>
                </c:pt>
                <c:pt idx="47">
                  <c:v>231</c:v>
                </c:pt>
                <c:pt idx="48">
                  <c:v>241</c:v>
                </c:pt>
                <c:pt idx="49">
                  <c:v>252</c:v>
                </c:pt>
                <c:pt idx="50">
                  <c:v>268</c:v>
                </c:pt>
                <c:pt idx="51">
                  <c:v>277</c:v>
                </c:pt>
                <c:pt idx="52">
                  <c:v>290</c:v>
                </c:pt>
                <c:pt idx="53">
                  <c:v>302</c:v>
                </c:pt>
                <c:pt idx="54">
                  <c:v>315</c:v>
                </c:pt>
                <c:pt idx="55">
                  <c:v>324</c:v>
                </c:pt>
                <c:pt idx="56">
                  <c:v>337</c:v>
                </c:pt>
                <c:pt idx="57">
                  <c:v>349</c:v>
                </c:pt>
                <c:pt idx="58">
                  <c:v>359</c:v>
                </c:pt>
                <c:pt idx="59">
                  <c:v>372</c:v>
                </c:pt>
                <c:pt idx="60">
                  <c:v>384</c:v>
                </c:pt>
                <c:pt idx="61">
                  <c:v>399</c:v>
                </c:pt>
                <c:pt idx="62">
                  <c:v>4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3.05231224826133</c:v>
                </c:pt>
                <c:pt idx="43">
                  <c:v>192.3234632928837</c:v>
                </c:pt>
                <c:pt idx="44">
                  <c:v>201.78464207838368</c:v>
                </c:pt>
                <c:pt idx="45">
                  <c:v>211.38191621311523</c:v>
                </c:pt>
                <c:pt idx="46">
                  <c:v>221.30832858888908</c:v>
                </c:pt>
                <c:pt idx="47">
                  <c:v>231.4581632841861</c:v>
                </c:pt>
                <c:pt idx="48">
                  <c:v>241.86488991737559</c:v>
                </c:pt>
                <c:pt idx="49">
                  <c:v>252.44550258138963</c:v>
                </c:pt>
                <c:pt idx="50">
                  <c:v>263.17042420309838</c:v>
                </c:pt>
                <c:pt idx="51">
                  <c:v>274.05549370473011</c:v>
                </c:pt>
                <c:pt idx="52">
                  <c:v>285.0845964494668</c:v>
                </c:pt>
                <c:pt idx="53">
                  <c:v>296.30644043549142</c:v>
                </c:pt>
                <c:pt idx="54">
                  <c:v>307.66960132860612</c:v>
                </c:pt>
                <c:pt idx="55">
                  <c:v>319.16298800589857</c:v>
                </c:pt>
                <c:pt idx="56">
                  <c:v>330.77172169315457</c:v>
                </c:pt>
                <c:pt idx="57">
                  <c:v>342.49386300181845</c:v>
                </c:pt>
                <c:pt idx="58">
                  <c:v>354.30992316852155</c:v>
                </c:pt>
                <c:pt idx="59">
                  <c:v>366.20218283773806</c:v>
                </c:pt>
                <c:pt idx="60">
                  <c:v>378.16432407429136</c:v>
                </c:pt>
                <c:pt idx="61">
                  <c:v>390.22216501507489</c:v>
                </c:pt>
                <c:pt idx="62">
                  <c:v>402.34704526207122</c:v>
                </c:pt>
                <c:pt idx="63">
                  <c:v>414.52542024235487</c:v>
                </c:pt>
                <c:pt idx="64">
                  <c:v>426.74736761370826</c:v>
                </c:pt>
                <c:pt idx="65">
                  <c:v>439.00298753248461</c:v>
                </c:pt>
                <c:pt idx="66">
                  <c:v>451.28246095797834</c:v>
                </c:pt>
                <c:pt idx="67">
                  <c:v>463.57578083890871</c:v>
                </c:pt>
                <c:pt idx="68">
                  <c:v>475.87281507592132</c:v>
                </c:pt>
                <c:pt idx="69">
                  <c:v>488.16333993535733</c:v>
                </c:pt>
                <c:pt idx="70">
                  <c:v>500.43708194312836</c:v>
                </c:pt>
                <c:pt idx="71">
                  <c:v>512.68374257537778</c:v>
                </c:pt>
                <c:pt idx="72">
                  <c:v>524.89315035850484</c:v>
                </c:pt>
                <c:pt idx="73">
                  <c:v>537.05530391634795</c:v>
                </c:pt>
                <c:pt idx="74">
                  <c:v>549.16036887104042</c:v>
                </c:pt>
                <c:pt idx="75">
                  <c:v>561.19867642831764</c:v>
                </c:pt>
                <c:pt idx="76">
                  <c:v>573.16076699182963</c:v>
                </c:pt>
                <c:pt idx="77">
                  <c:v>585.03740385352648</c:v>
                </c:pt>
                <c:pt idx="78">
                  <c:v>596.81961338062933</c:v>
                </c:pt>
                <c:pt idx="79">
                  <c:v>608.498716698782</c:v>
                </c:pt>
                <c:pt idx="80">
                  <c:v>620.06636333580025</c:v>
                </c:pt>
                <c:pt idx="81">
                  <c:v>631.51454952068116</c:v>
                </c:pt>
                <c:pt idx="82">
                  <c:v>642.83561808900663</c:v>
                </c:pt>
                <c:pt idx="83">
                  <c:v>654.02227631380208</c:v>
                </c:pt>
                <c:pt idx="84">
                  <c:v>665.06760790703481</c:v>
                </c:pt>
                <c:pt idx="85">
                  <c:v>675.96508438129217</c:v>
                </c:pt>
                <c:pt idx="86">
                  <c:v>686.70857193343682</c:v>
                </c:pt>
                <c:pt idx="87">
                  <c:v>697.29234392176306</c:v>
                </c:pt>
                <c:pt idx="88">
                  <c:v>707.71108992828351</c:v>
                </c:pt>
                <c:pt idx="89">
                  <c:v>717.95991567388228</c:v>
                </c:pt>
                <c:pt idx="90">
                  <c:v>728.03433857281345</c:v>
                </c:pt>
                <c:pt idx="91">
                  <c:v>737.93028993672579</c:v>
                </c:pt>
                <c:pt idx="92">
                  <c:v>747.64411231283839</c:v>
                </c:pt>
                <c:pt idx="93">
                  <c:v>757.17255610149846</c:v>
                </c:pt>
                <c:pt idx="94">
                  <c:v>766.51277391105202</c:v>
                </c:pt>
                <c:pt idx="95">
                  <c:v>775.66232819227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3.17885621253384</c:v>
                </c:pt>
                <c:pt idx="43">
                  <c:v>192.63506196456242</c:v>
                </c:pt>
                <c:pt idx="44">
                  <c:v>202.34946562185127</c:v>
                </c:pt>
                <c:pt idx="45">
                  <c:v>212.27762971977705</c:v>
                </c:pt>
                <c:pt idx="46">
                  <c:v>222.62159391775072</c:v>
                </c:pt>
                <c:pt idx="47">
                  <c:v>233.28482211157251</c:v>
                </c:pt>
                <c:pt idx="48">
                  <c:v>244.30899571240943</c:v>
                </c:pt>
                <c:pt idx="49">
                  <c:v>255.61875786240174</c:v>
                </c:pt>
                <c:pt idx="50">
                  <c:v>267.19141170892016</c:v>
                </c:pt>
                <c:pt idx="51">
                  <c:v>279.04868311100006</c:v>
                </c:pt>
                <c:pt idx="52">
                  <c:v>291.17971698734266</c:v>
                </c:pt>
                <c:pt idx="53">
                  <c:v>303.63766104020584</c:v>
                </c:pt>
                <c:pt idx="54">
                  <c:v>316.37542006710572</c:v>
                </c:pt>
                <c:pt idx="55">
                  <c:v>329.38517237900896</c:v>
                </c:pt>
                <c:pt idx="56">
                  <c:v>342.65450466107325</c:v>
                </c:pt>
                <c:pt idx="57">
                  <c:v>356.18323904718932</c:v>
                </c:pt>
                <c:pt idx="58">
                  <c:v>369.95306757660228</c:v>
                </c:pt>
                <c:pt idx="59">
                  <c:v>383.94681175080558</c:v>
                </c:pt>
                <c:pt idx="60">
                  <c:v>398.1580298515845</c:v>
                </c:pt>
                <c:pt idx="61">
                  <c:v>412.61176707588919</c:v>
                </c:pt>
                <c:pt idx="62">
                  <c:v>427.27818875257327</c:v>
                </c:pt>
                <c:pt idx="63">
                  <c:v>442.14181220766557</c:v>
                </c:pt>
                <c:pt idx="64">
                  <c:v>457.19007339925759</c:v>
                </c:pt>
                <c:pt idx="65">
                  <c:v>472.40987192892823</c:v>
                </c:pt>
                <c:pt idx="66">
                  <c:v>487.78766989508097</c:v>
                </c:pt>
                <c:pt idx="67">
                  <c:v>503.3091402906303</c:v>
                </c:pt>
                <c:pt idx="68">
                  <c:v>518.95927145093037</c:v>
                </c:pt>
                <c:pt idx="69">
                  <c:v>534.72242632939651</c:v>
                </c:pt>
                <c:pt idx="70">
                  <c:v>550.58241809340325</c:v>
                </c:pt>
                <c:pt idx="71">
                  <c:v>566.52256136135566</c:v>
                </c:pt>
                <c:pt idx="72">
                  <c:v>582.52591000455141</c:v>
                </c:pt>
                <c:pt idx="73">
                  <c:v>598.5753416881505</c:v>
                </c:pt>
                <c:pt idx="74">
                  <c:v>614.65358178373435</c:v>
                </c:pt>
                <c:pt idx="75">
                  <c:v>630.7432343650155</c:v>
                </c:pt>
                <c:pt idx="76">
                  <c:v>646.82687689838542</c:v>
                </c:pt>
                <c:pt idx="77">
                  <c:v>662.88711448084928</c:v>
                </c:pt>
                <c:pt idx="78">
                  <c:v>678.90667192941396</c:v>
                </c:pt>
                <c:pt idx="79">
                  <c:v>694.86847477655385</c:v>
                </c:pt>
                <c:pt idx="80">
                  <c:v>710.75573417629664</c:v>
                </c:pt>
                <c:pt idx="81">
                  <c:v>726.55201002543924</c:v>
                </c:pt>
                <c:pt idx="82">
                  <c:v>742.24124866724867</c:v>
                </c:pt>
                <c:pt idx="83">
                  <c:v>757.80784483720652</c:v>
                </c:pt>
                <c:pt idx="84">
                  <c:v>773.23669402563019</c:v>
                </c:pt>
                <c:pt idx="85">
                  <c:v>788.51324290268906</c:v>
                </c:pt>
                <c:pt idx="86">
                  <c:v>803.62353168165725</c:v>
                </c:pt>
                <c:pt idx="87">
                  <c:v>818.55424267199191</c:v>
                </c:pt>
                <c:pt idx="88">
                  <c:v>833.2927417204404</c:v>
                </c:pt>
                <c:pt idx="89">
                  <c:v>847.82710486503902</c:v>
                </c:pt>
                <c:pt idx="90">
                  <c:v>862.14613660185671</c:v>
                </c:pt>
                <c:pt idx="91">
                  <c:v>876.23939483660774</c:v>
                </c:pt>
                <c:pt idx="92">
                  <c:v>890.09720648639325</c:v>
                </c:pt>
                <c:pt idx="93">
                  <c:v>903.71067947070628</c:v>
                </c:pt>
                <c:pt idx="94">
                  <c:v>917.07170893259809</c:v>
                </c:pt>
                <c:pt idx="95">
                  <c:v>930.1729837294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3.3061176696057</c:v>
                </c:pt>
                <c:pt idx="43">
                  <c:v>192.949315031304</c:v>
                </c:pt>
                <c:pt idx="44">
                  <c:v>202.92100059520322</c:v>
                </c:pt>
                <c:pt idx="45">
                  <c:v>213.18737749361037</c:v>
                </c:pt>
                <c:pt idx="46">
                  <c:v>223.9608581079423</c:v>
                </c:pt>
                <c:pt idx="47">
                  <c:v>235.15568042652939</c:v>
                </c:pt>
                <c:pt idx="48">
                  <c:v>246.82353287453384</c:v>
                </c:pt>
                <c:pt idx="49">
                  <c:v>258.89869123740829</c:v>
                </c:pt>
                <c:pt idx="50">
                  <c:v>271.36748324751068</c:v>
                </c:pt>
                <c:pt idx="51">
                  <c:v>284.25980219858945</c:v>
                </c:pt>
                <c:pt idx="52">
                  <c:v>297.5724369969015</c:v>
                </c:pt>
                <c:pt idx="53">
                  <c:v>311.36541946767795</c:v>
                </c:pt>
                <c:pt idx="54">
                  <c:v>325.59844952513441</c:v>
                </c:pt>
                <c:pt idx="55">
                  <c:v>340.26941871321969</c:v>
                </c:pt>
                <c:pt idx="56">
                  <c:v>355.37077571458838</c:v>
                </c:pt>
                <c:pt idx="57">
                  <c:v>370.90640233775002</c:v>
                </c:pt>
                <c:pt idx="58">
                  <c:v>386.86133923863667</c:v>
                </c:pt>
                <c:pt idx="59">
                  <c:v>403.22094589296336</c:v>
                </c:pt>
                <c:pt idx="60">
                  <c:v>419.98043122601518</c:v>
                </c:pt>
                <c:pt idx="61">
                  <c:v>437.16558253148577</c:v>
                </c:pt>
                <c:pt idx="62">
                  <c:v>454.74660866908403</c:v>
                </c:pt>
                <c:pt idx="63">
                  <c:v>472.706981495089</c:v>
                </c:pt>
                <c:pt idx="64">
                  <c:v>491.0320354078994</c:v>
                </c:pt>
                <c:pt idx="65">
                  <c:v>509.70565784799504</c:v>
                </c:pt>
                <c:pt idx="66">
                  <c:v>528.7104126111758</c:v>
                </c:pt>
                <c:pt idx="67">
                  <c:v>548.02706751443907</c:v>
                </c:pt>
                <c:pt idx="68">
                  <c:v>567.63473690632782</c:v>
                </c:pt>
                <c:pt idx="69">
                  <c:v>587.51096443505071</c:v>
                </c:pt>
                <c:pt idx="70">
                  <c:v>607.63183732130847</c:v>
                </c:pt>
                <c:pt idx="71">
                  <c:v>627.97207254664784</c:v>
                </c:pt>
                <c:pt idx="72">
                  <c:v>648.5053674747212</c:v>
                </c:pt>
                <c:pt idx="73">
                  <c:v>669.20454760104781</c:v>
                </c:pt>
                <c:pt idx="74">
                  <c:v>690.04164076688835</c:v>
                </c:pt>
                <c:pt idx="75">
                  <c:v>710.98796953924852</c:v>
                </c:pt>
                <c:pt idx="76">
                  <c:v>732.01433407531351</c:v>
                </c:pt>
                <c:pt idx="77">
                  <c:v>753.09114486432679</c:v>
                </c:pt>
                <c:pt idx="78">
                  <c:v>774.18861012106777</c:v>
                </c:pt>
                <c:pt idx="79">
                  <c:v>795.27691091734937</c:v>
                </c:pt>
                <c:pt idx="80">
                  <c:v>816.3263843791317</c:v>
                </c:pt>
                <c:pt idx="81">
                  <c:v>837.30767799431794</c:v>
                </c:pt>
                <c:pt idx="82">
                  <c:v>858.19187015323462</c:v>
                </c:pt>
                <c:pt idx="83">
                  <c:v>878.95062226078539</c:v>
                </c:pt>
                <c:pt idx="84">
                  <c:v>899.55631556027583</c:v>
                </c:pt>
                <c:pt idx="85">
                  <c:v>919.98218283155029</c:v>
                </c:pt>
                <c:pt idx="86">
                  <c:v>940.20242548537465</c:v>
                </c:pt>
                <c:pt idx="87">
                  <c:v>960.19233493090212</c:v>
                </c:pt>
                <c:pt idx="88">
                  <c:v>979.9283993175751</c:v>
                </c:pt>
                <c:pt idx="89">
                  <c:v>999.38838528419615</c:v>
                </c:pt>
                <c:pt idx="90">
                  <c:v>1018.5514028264695</c:v>
                </c:pt>
                <c:pt idx="91">
                  <c:v>1037.3979731947338</c:v>
                </c:pt>
                <c:pt idx="92">
                  <c:v>1055.9100781527929</c:v>
                </c:pt>
                <c:pt idx="93">
                  <c:v>1074.0711983170672</c:v>
                </c:pt>
                <c:pt idx="94">
                  <c:v>1091.8663377070927</c:v>
                </c:pt>
                <c:pt idx="95">
                  <c:v>1109.2820428839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11</c:v>
                </c:pt>
                <c:pt idx="17">
                  <c:v>11</c:v>
                </c:pt>
                <c:pt idx="18">
                  <c:v>11</c:v>
                </c:pt>
                <c:pt idx="19">
                  <c:v>14</c:v>
                </c:pt>
                <c:pt idx="20">
                  <c:v>15</c:v>
                </c:pt>
                <c:pt idx="21">
                  <c:v>18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  <c:pt idx="26">
                  <c:v>17</c:v>
                </c:pt>
                <c:pt idx="27">
                  <c:v>15</c:v>
                </c:pt>
                <c:pt idx="28">
                  <c:v>14</c:v>
                </c:pt>
                <c:pt idx="29">
                  <c:v>6</c:v>
                </c:pt>
                <c:pt idx="30">
                  <c:v>14</c:v>
                </c:pt>
                <c:pt idx="31">
                  <c:v>18</c:v>
                </c:pt>
                <c:pt idx="32">
                  <c:v>17</c:v>
                </c:pt>
                <c:pt idx="33">
                  <c:v>17</c:v>
                </c:pt>
                <c:pt idx="34">
                  <c:v>15</c:v>
                </c:pt>
                <c:pt idx="35">
                  <c:v>21</c:v>
                </c:pt>
                <c:pt idx="36">
                  <c:v>19</c:v>
                </c:pt>
                <c:pt idx="37">
                  <c:v>23</c:v>
                </c:pt>
                <c:pt idx="38">
                  <c:v>26</c:v>
                </c:pt>
                <c:pt idx="39">
                  <c:v>30</c:v>
                </c:pt>
                <c:pt idx="40">
                  <c:v>35</c:v>
                </c:pt>
                <c:pt idx="41">
                  <c:v>34</c:v>
                </c:pt>
                <c:pt idx="42">
                  <c:v>34</c:v>
                </c:pt>
                <c:pt idx="43">
                  <c:v>36</c:v>
                </c:pt>
                <c:pt idx="44">
                  <c:v>42</c:v>
                </c:pt>
                <c:pt idx="45">
                  <c:v>49</c:v>
                </c:pt>
                <c:pt idx="46">
                  <c:v>50</c:v>
                </c:pt>
                <c:pt idx="47">
                  <c:v>48</c:v>
                </c:pt>
                <c:pt idx="48">
                  <c:v>53</c:v>
                </c:pt>
                <c:pt idx="49">
                  <c:v>49</c:v>
                </c:pt>
                <c:pt idx="50">
                  <c:v>42</c:v>
                </c:pt>
                <c:pt idx="51">
                  <c:v>49</c:v>
                </c:pt>
                <c:pt idx="52">
                  <c:v>52</c:v>
                </c:pt>
                <c:pt idx="53">
                  <c:v>53</c:v>
                </c:pt>
                <c:pt idx="54">
                  <c:v>49</c:v>
                </c:pt>
                <c:pt idx="55">
                  <c:v>50</c:v>
                </c:pt>
                <c:pt idx="56">
                  <c:v>50</c:v>
                </c:pt>
                <c:pt idx="57">
                  <c:v>51</c:v>
                </c:pt>
                <c:pt idx="58">
                  <c:v>51</c:v>
                </c:pt>
                <c:pt idx="59">
                  <c:v>58</c:v>
                </c:pt>
                <c:pt idx="60">
                  <c:v>59</c:v>
                </c:pt>
                <c:pt idx="61">
                  <c:v>63</c:v>
                </c:pt>
                <c:pt idx="6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639994999220619</c:v>
                </c:pt>
                <c:pt idx="43">
                  <c:v>34.361413454943005</c:v>
                </c:pt>
                <c:pt idx="44">
                  <c:v>36.02696611866206</c:v>
                </c:pt>
                <c:pt idx="45">
                  <c:v>37.615344049308419</c:v>
                </c:pt>
                <c:pt idx="46">
                  <c:v>39.192198125371689</c:v>
                </c:pt>
                <c:pt idx="47">
                  <c:v>40.780766349021064</c:v>
                </c:pt>
                <c:pt idx="48">
                  <c:v>42.328002402823643</c:v>
                </c:pt>
                <c:pt idx="49">
                  <c:v>43.830330276429663</c:v>
                </c:pt>
                <c:pt idx="50">
                  <c:v>45.210682224829114</c:v>
                </c:pt>
                <c:pt idx="51">
                  <c:v>46.552637593332989</c:v>
                </c:pt>
                <c:pt idx="52">
                  <c:v>47.843113309396912</c:v>
                </c:pt>
                <c:pt idx="53">
                  <c:v>49.116591957546596</c:v>
                </c:pt>
                <c:pt idx="54">
                  <c:v>50.291377444142583</c:v>
                </c:pt>
                <c:pt idx="55">
                  <c:v>51.399135542948933</c:v>
                </c:pt>
                <c:pt idx="56">
                  <c:v>52.484294708446726</c:v>
                </c:pt>
                <c:pt idx="57">
                  <c:v>53.498913200671367</c:v>
                </c:pt>
                <c:pt idx="58">
                  <c:v>54.458297747843886</c:v>
                </c:pt>
                <c:pt idx="59">
                  <c:v>55.350553882709796</c:v>
                </c:pt>
                <c:pt idx="60">
                  <c:v>56.20293423233619</c:v>
                </c:pt>
                <c:pt idx="61">
                  <c:v>56.993063018891895</c:v>
                </c:pt>
                <c:pt idx="62">
                  <c:v>57.713840713245105</c:v>
                </c:pt>
                <c:pt idx="63">
                  <c:v>58.385670539553089</c:v>
                </c:pt>
                <c:pt idx="64">
                  <c:v>59.014511627489696</c:v>
                </c:pt>
                <c:pt idx="65">
                  <c:v>59.576243455093291</c:v>
                </c:pt>
                <c:pt idx="66">
                  <c:v>60.073514470356386</c:v>
                </c:pt>
                <c:pt idx="67">
                  <c:v>60.516194854010934</c:v>
                </c:pt>
                <c:pt idx="68">
                  <c:v>60.909341198368033</c:v>
                </c:pt>
                <c:pt idx="69">
                  <c:v>61.250642763471035</c:v>
                </c:pt>
                <c:pt idx="70">
                  <c:v>61.53700812563271</c:v>
                </c:pt>
                <c:pt idx="71">
                  <c:v>61.775669248302322</c:v>
                </c:pt>
                <c:pt idx="72">
                  <c:v>61.957461972271233</c:v>
                </c:pt>
                <c:pt idx="73">
                  <c:v>62.084231394009315</c:v>
                </c:pt>
                <c:pt idx="74">
                  <c:v>62.150017948643615</c:v>
                </c:pt>
                <c:pt idx="75">
                  <c:v>62.164265267980099</c:v>
                </c:pt>
                <c:pt idx="76">
                  <c:v>62.127829568172473</c:v>
                </c:pt>
                <c:pt idx="77">
                  <c:v>62.040348949672463</c:v>
                </c:pt>
                <c:pt idx="78">
                  <c:v>61.899557788348844</c:v>
                </c:pt>
                <c:pt idx="79">
                  <c:v>61.703838827193493</c:v>
                </c:pt>
                <c:pt idx="80">
                  <c:v>61.456797233001637</c:v>
                </c:pt>
                <c:pt idx="81">
                  <c:v>61.16007074656892</c:v>
                </c:pt>
                <c:pt idx="82">
                  <c:v>60.814273551348641</c:v>
                </c:pt>
                <c:pt idx="83">
                  <c:v>60.419498379259835</c:v>
                </c:pt>
                <c:pt idx="84">
                  <c:v>59.977516938510888</c:v>
                </c:pt>
                <c:pt idx="85">
                  <c:v>59.489932266280775</c:v>
                </c:pt>
                <c:pt idx="86">
                  <c:v>58.95840843971888</c:v>
                </c:pt>
                <c:pt idx="87">
                  <c:v>58.384365432557416</c:v>
                </c:pt>
                <c:pt idx="88">
                  <c:v>57.769681394269981</c:v>
                </c:pt>
                <c:pt idx="89">
                  <c:v>57.115966880610955</c:v>
                </c:pt>
                <c:pt idx="90">
                  <c:v>56.424677447232142</c:v>
                </c:pt>
                <c:pt idx="91">
                  <c:v>55.697717877530621</c:v>
                </c:pt>
                <c:pt idx="92">
                  <c:v>54.937221792518542</c:v>
                </c:pt>
                <c:pt idx="93">
                  <c:v>54.145207982110264</c:v>
                </c:pt>
                <c:pt idx="94">
                  <c:v>53.323643582346776</c:v>
                </c:pt>
                <c:pt idx="95">
                  <c:v>52.474580530432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707439852543047</c:v>
                </c:pt>
                <c:pt idx="43">
                  <c:v>34.523282264070168</c:v>
                </c:pt>
                <c:pt idx="44">
                  <c:v>36.313241131174181</c:v>
                </c:pt>
                <c:pt idx="45">
                  <c:v>38.058783264680045</c:v>
                </c:pt>
                <c:pt idx="46">
                  <c:v>39.827397240126572</c:v>
                </c:pt>
                <c:pt idx="47">
                  <c:v>41.645278643329682</c:v>
                </c:pt>
                <c:pt idx="48">
                  <c:v>43.459765471856869</c:v>
                </c:pt>
                <c:pt idx="49">
                  <c:v>45.268462183282168</c:v>
                </c:pt>
                <c:pt idx="50">
                  <c:v>46.994142981584346</c:v>
                </c:pt>
                <c:pt idx="51">
                  <c:v>48.720311699319019</c:v>
                </c:pt>
                <c:pt idx="52">
                  <c:v>50.433466508606728</c:v>
                </c:pt>
                <c:pt idx="53">
                  <c:v>52.16682642334743</c:v>
                </c:pt>
                <c:pt idx="54">
                  <c:v>53.837769374832959</c:v>
                </c:pt>
                <c:pt idx="55">
                  <c:v>55.475923641966475</c:v>
                </c:pt>
                <c:pt idx="56">
                  <c:v>57.124135323365898</c:v>
                </c:pt>
                <c:pt idx="57">
                  <c:v>58.732351143520823</c:v>
                </c:pt>
                <c:pt idx="58">
                  <c:v>60.31328681811604</c:v>
                </c:pt>
                <c:pt idx="59">
                  <c:v>61.85112571221385</c:v>
                </c:pt>
                <c:pt idx="60">
                  <c:v>63.37076025600004</c:v>
                </c:pt>
                <c:pt idx="61">
                  <c:v>64.846107861861384</c:v>
                </c:pt>
                <c:pt idx="62">
                  <c:v>66.26719766174503</c:v>
                </c:pt>
                <c:pt idx="63">
                  <c:v>67.651800845619533</c:v>
                </c:pt>
                <c:pt idx="64">
                  <c:v>69.002233063068928</c:v>
                </c:pt>
                <c:pt idx="65">
                  <c:v>70.290985707896596</c:v>
                </c:pt>
                <c:pt idx="66">
                  <c:v>71.517491744044889</c:v>
                </c:pt>
                <c:pt idx="67">
                  <c:v>72.68885373457249</c:v>
                </c:pt>
                <c:pt idx="68">
                  <c:v>73.806981445806073</c:v>
                </c:pt>
                <c:pt idx="69">
                  <c:v>74.866460758685477</c:v>
                </c:pt>
                <c:pt idx="70">
                  <c:v>75.861029863408575</c:v>
                </c:pt>
                <c:pt idx="71">
                  <c:v>76.794755324803319</c:v>
                </c:pt>
                <c:pt idx="72">
                  <c:v>77.655299309180322</c:v>
                </c:pt>
                <c:pt idx="73">
                  <c:v>78.441797900286502</c:v>
                </c:pt>
                <c:pt idx="74">
                  <c:v>79.145539633477</c:v>
                </c:pt>
                <c:pt idx="75">
                  <c:v>79.773520208808549</c:v>
                </c:pt>
                <c:pt idx="76">
                  <c:v>80.324183129514012</c:v>
                </c:pt>
                <c:pt idx="77">
                  <c:v>80.794914436281516</c:v>
                </c:pt>
                <c:pt idx="78">
                  <c:v>81.181107418390042</c:v>
                </c:pt>
                <c:pt idx="79">
                  <c:v>81.479130445438642</c:v>
                </c:pt>
                <c:pt idx="80">
                  <c:v>81.691017069141594</c:v>
                </c:pt>
                <c:pt idx="81">
                  <c:v>81.816878175819653</c:v>
                </c:pt>
                <c:pt idx="82">
                  <c:v>81.856010249850044</c:v>
                </c:pt>
                <c:pt idx="83">
                  <c:v>81.807400707911469</c:v>
                </c:pt>
                <c:pt idx="84">
                  <c:v>81.671927876084524</c:v>
                </c:pt>
                <c:pt idx="85">
                  <c:v>81.450521372350508</c:v>
                </c:pt>
                <c:pt idx="86">
                  <c:v>81.144388897401754</c:v>
                </c:pt>
                <c:pt idx="87">
                  <c:v>80.754711333147924</c:v>
                </c:pt>
                <c:pt idx="88">
                  <c:v>80.283339920047794</c:v>
                </c:pt>
                <c:pt idx="89">
                  <c:v>79.732063926435643</c:v>
                </c:pt>
                <c:pt idx="90">
                  <c:v>79.102713000432885</c:v>
                </c:pt>
                <c:pt idx="91">
                  <c:v>78.39775307773283</c:v>
                </c:pt>
                <c:pt idx="92">
                  <c:v>77.620058994553418</c:v>
                </c:pt>
                <c:pt idx="93">
                  <c:v>76.772560706491561</c:v>
                </c:pt>
                <c:pt idx="94">
                  <c:v>75.858293355443692</c:v>
                </c:pt>
                <c:pt idx="95">
                  <c:v>74.880514831773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775267069014717</c:v>
                </c:pt>
                <c:pt idx="43">
                  <c:v>34.686541904465813</c:v>
                </c:pt>
                <c:pt idx="44">
                  <c:v>36.602980050776225</c:v>
                </c:pt>
                <c:pt idx="45">
                  <c:v>38.509362723193668</c:v>
                </c:pt>
                <c:pt idx="46">
                  <c:v>40.475636449903263</c:v>
                </c:pt>
                <c:pt idx="47">
                  <c:v>42.531649176389259</c:v>
                </c:pt>
                <c:pt idx="48">
                  <c:v>44.625866762366087</c:v>
                </c:pt>
                <c:pt idx="49">
                  <c:v>46.757861988861094</c:v>
                </c:pt>
                <c:pt idx="50">
                  <c:v>48.851057467915659</c:v>
                </c:pt>
                <c:pt idx="51">
                  <c:v>50.98969389814426</c:v>
                </c:pt>
                <c:pt idx="52">
                  <c:v>53.160649059051771</c:v>
                </c:pt>
                <c:pt idx="53">
                  <c:v>55.396637490534061</c:v>
                </c:pt>
                <c:pt idx="54">
                  <c:v>57.614814281361006</c:v>
                </c:pt>
                <c:pt idx="55">
                  <c:v>59.843393591990562</c:v>
                </c:pt>
                <c:pt idx="56">
                  <c:v>62.12417854195418</c:v>
                </c:pt>
                <c:pt idx="57">
                  <c:v>64.405436275648768</c:v>
                </c:pt>
                <c:pt idx="58">
                  <c:v>66.697605688186002</c:v>
                </c:pt>
                <c:pt idx="59">
                  <c:v>68.981124891297171</c:v>
                </c:pt>
                <c:pt idx="60">
                  <c:v>71.278555312791269</c:v>
                </c:pt>
                <c:pt idx="61">
                  <c:v>73.559971660225102</c:v>
                </c:pt>
                <c:pt idx="62">
                  <c:v>75.812227288755849</c:v>
                </c:pt>
                <c:pt idx="63">
                  <c:v>78.049987960025902</c:v>
                </c:pt>
                <c:pt idx="64">
                  <c:v>80.271279124766096</c:v>
                </c:pt>
                <c:pt idx="65">
                  <c:v>82.444401177985355</c:v>
                </c:pt>
                <c:pt idx="66">
                  <c:v>84.564618236063339</c:v>
                </c:pt>
                <c:pt idx="67">
                  <c:v>86.635157784800995</c:v>
                </c:pt>
                <c:pt idx="68">
                  <c:v>88.653533132096513</c:v>
                </c:pt>
                <c:pt idx="69">
                  <c:v>90.609849245617994</c:v>
                </c:pt>
                <c:pt idx="70">
                  <c:v>92.493184650515673</c:v>
                </c:pt>
                <c:pt idx="71">
                  <c:v>94.302856378235418</c:v>
                </c:pt>
                <c:pt idx="72">
                  <c:v>96.021698881212146</c:v>
                </c:pt>
                <c:pt idx="73">
                  <c:v>97.644437979818179</c:v>
                </c:pt>
                <c:pt idx="74">
                  <c:v>99.157880859048731</c:v>
                </c:pt>
                <c:pt idx="75">
                  <c:v>100.5648404928844</c:v>
                </c:pt>
                <c:pt idx="76">
                  <c:v>101.8596311473131</c:v>
                </c:pt>
                <c:pt idx="77">
                  <c:v>103.03571176820526</c:v>
                </c:pt>
                <c:pt idx="78">
                  <c:v>104.08452285211406</c:v>
                </c:pt>
                <c:pt idx="79">
                  <c:v>104.99889273826807</c:v>
                </c:pt>
                <c:pt idx="80">
                  <c:v>105.77786574621777</c:v>
                </c:pt>
                <c:pt idx="81">
                  <c:v>106.41873412574296</c:v>
                </c:pt>
                <c:pt idx="82">
                  <c:v>106.91832688684237</c:v>
                </c:pt>
                <c:pt idx="83">
                  <c:v>107.27353321884006</c:v>
                </c:pt>
                <c:pt idx="84">
                  <c:v>107.48351436343486</c:v>
                </c:pt>
                <c:pt idx="85">
                  <c:v>107.54788148455094</c:v>
                </c:pt>
                <c:pt idx="86">
                  <c:v>107.46692644907776</c:v>
                </c:pt>
                <c:pt idx="87">
                  <c:v>107.24132151410113</c:v>
                </c:pt>
                <c:pt idx="88">
                  <c:v>106.87281273244167</c:v>
                </c:pt>
                <c:pt idx="89">
                  <c:v>106.36347929612387</c:v>
                </c:pt>
                <c:pt idx="90">
                  <c:v>105.71582128181726</c:v>
                </c:pt>
                <c:pt idx="91">
                  <c:v>104.93334078513561</c:v>
                </c:pt>
                <c:pt idx="92">
                  <c:v>104.02029848009096</c:v>
                </c:pt>
                <c:pt idx="93">
                  <c:v>102.98133869094315</c:v>
                </c:pt>
                <c:pt idx="94">
                  <c:v>101.82151337913679</c:v>
                </c:pt>
                <c:pt idx="95">
                  <c:v>100.54637260943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5</c:v>
                </c:pt>
                <c:pt idx="16">
                  <c:v>4</c:v>
                </c:pt>
                <c:pt idx="17">
                  <c:v>5</c:v>
                </c:pt>
                <c:pt idx="18">
                  <c:v>6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5</c:v>
                </c:pt>
                <c:pt idx="25">
                  <c:v>5</c:v>
                </c:pt>
                <c:pt idx="26">
                  <c:v>6</c:v>
                </c:pt>
                <c:pt idx="27">
                  <c:v>7</c:v>
                </c:pt>
                <c:pt idx="28">
                  <c:v>9</c:v>
                </c:pt>
                <c:pt idx="29">
                  <c:v>7</c:v>
                </c:pt>
                <c:pt idx="30">
                  <c:v>14</c:v>
                </c:pt>
                <c:pt idx="31">
                  <c:v>19</c:v>
                </c:pt>
                <c:pt idx="32">
                  <c:v>19</c:v>
                </c:pt>
                <c:pt idx="33">
                  <c:v>22</c:v>
                </c:pt>
                <c:pt idx="34">
                  <c:v>23</c:v>
                </c:pt>
                <c:pt idx="35">
                  <c:v>25</c:v>
                </c:pt>
                <c:pt idx="36">
                  <c:v>27</c:v>
                </c:pt>
                <c:pt idx="37">
                  <c:v>28</c:v>
                </c:pt>
                <c:pt idx="38">
                  <c:v>34</c:v>
                </c:pt>
                <c:pt idx="39">
                  <c:v>35</c:v>
                </c:pt>
                <c:pt idx="40">
                  <c:v>34</c:v>
                </c:pt>
                <c:pt idx="41">
                  <c:v>29</c:v>
                </c:pt>
                <c:pt idx="42">
                  <c:v>28</c:v>
                </c:pt>
                <c:pt idx="43">
                  <c:v>35</c:v>
                </c:pt>
                <c:pt idx="44">
                  <c:v>37</c:v>
                </c:pt>
                <c:pt idx="45">
                  <c:v>42</c:v>
                </c:pt>
                <c:pt idx="46">
                  <c:v>45</c:v>
                </c:pt>
                <c:pt idx="47">
                  <c:v>45</c:v>
                </c:pt>
                <c:pt idx="48">
                  <c:v>44</c:v>
                </c:pt>
                <c:pt idx="49">
                  <c:v>45</c:v>
                </c:pt>
                <c:pt idx="50">
                  <c:v>52</c:v>
                </c:pt>
                <c:pt idx="51">
                  <c:v>55</c:v>
                </c:pt>
                <c:pt idx="52">
                  <c:v>59</c:v>
                </c:pt>
                <c:pt idx="53">
                  <c:v>60</c:v>
                </c:pt>
                <c:pt idx="54">
                  <c:v>55</c:v>
                </c:pt>
                <c:pt idx="55">
                  <c:v>54</c:v>
                </c:pt>
                <c:pt idx="56">
                  <c:v>55</c:v>
                </c:pt>
                <c:pt idx="57">
                  <c:v>56</c:v>
                </c:pt>
                <c:pt idx="58">
                  <c:v>58</c:v>
                </c:pt>
                <c:pt idx="59">
                  <c:v>58</c:v>
                </c:pt>
                <c:pt idx="60">
                  <c:v>61</c:v>
                </c:pt>
                <c:pt idx="61">
                  <c:v>69</c:v>
                </c:pt>
                <c:pt idx="62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.905938174167645</c:v>
                </c:pt>
                <c:pt idx="43">
                  <c:v>38.847228033117617</c:v>
                </c:pt>
                <c:pt idx="44">
                  <c:v>40.726060826325075</c:v>
                </c:pt>
                <c:pt idx="45">
                  <c:v>42.515822356561259</c:v>
                </c:pt>
                <c:pt idx="46">
                  <c:v>44.291598112361584</c:v>
                </c:pt>
                <c:pt idx="47">
                  <c:v>46.079914788323762</c:v>
                </c:pt>
                <c:pt idx="48">
                  <c:v>47.823375410837535</c:v>
                </c:pt>
                <c:pt idx="49">
                  <c:v>49.515468660193939</c:v>
                </c:pt>
                <c:pt idx="50">
                  <c:v>51.067476252894444</c:v>
                </c:pt>
                <c:pt idx="51">
                  <c:v>52.577956008132212</c:v>
                </c:pt>
                <c:pt idx="52">
                  <c:v>54.032058984319484</c:v>
                </c:pt>
                <c:pt idx="53">
                  <c:v>55.467394518525268</c:v>
                </c:pt>
                <c:pt idx="54">
                  <c:v>56.789372481538457</c:v>
                </c:pt>
                <c:pt idx="55">
                  <c:v>58.037365085598509</c:v>
                </c:pt>
                <c:pt idx="56">
                  <c:v>59.261096974774745</c:v>
                </c:pt>
                <c:pt idx="57">
                  <c:v>60.405613466137908</c:v>
                </c:pt>
                <c:pt idx="58">
                  <c:v>61.487248209692197</c:v>
                </c:pt>
                <c:pt idx="59">
                  <c:v>62.494068765114847</c:v>
                </c:pt>
                <c:pt idx="60">
                  <c:v>63.457911858246518</c:v>
                </c:pt>
                <c:pt idx="61">
                  <c:v>64.350460705361584</c:v>
                </c:pt>
                <c:pt idx="62">
                  <c:v>65.165225689107075</c:v>
                </c:pt>
                <c:pt idx="63">
                  <c:v>65.924547045993037</c:v>
                </c:pt>
                <c:pt idx="64">
                  <c:v>66.636339430939927</c:v>
                </c:pt>
                <c:pt idx="65">
                  <c:v>67.272274794603021</c:v>
                </c:pt>
                <c:pt idx="66">
                  <c:v>67.835696957757932</c:v>
                </c:pt>
                <c:pt idx="67">
                  <c:v>68.337951500743856</c:v>
                </c:pt>
                <c:pt idx="68">
                  <c:v>68.784384452522744</c:v>
                </c:pt>
                <c:pt idx="69">
                  <c:v>69.172186267781939</c:v>
                </c:pt>
                <c:pt idx="70">
                  <c:v>69.49791321152054</c:v>
                </c:pt>
                <c:pt idx="71">
                  <c:v>69.770181973718792</c:v>
                </c:pt>
                <c:pt idx="72">
                  <c:v>69.978403661491853</c:v>
                </c:pt>
                <c:pt idx="73">
                  <c:v>70.124464000330633</c:v>
                </c:pt>
                <c:pt idx="74">
                  <c:v>70.201653259562846</c:v>
                </c:pt>
                <c:pt idx="75">
                  <c:v>70.220603904909353</c:v>
                </c:pt>
                <c:pt idx="76">
                  <c:v>70.18219966544126</c:v>
                </c:pt>
                <c:pt idx="77">
                  <c:v>70.086076031115454</c:v>
                </c:pt>
                <c:pt idx="78">
                  <c:v>69.92971435154999</c:v>
                </c:pt>
                <c:pt idx="79">
                  <c:v>69.71133754476088</c:v>
                </c:pt>
                <c:pt idx="80">
                  <c:v>69.434916348637586</c:v>
                </c:pt>
                <c:pt idx="81">
                  <c:v>69.102290338603694</c:v>
                </c:pt>
                <c:pt idx="82">
                  <c:v>68.714151024117896</c:v>
                </c:pt>
                <c:pt idx="83">
                  <c:v>68.270607391200144</c:v>
                </c:pt>
                <c:pt idx="84">
                  <c:v>67.773642559009943</c:v>
                </c:pt>
                <c:pt idx="85">
                  <c:v>67.225057621988555</c:v>
                </c:pt>
                <c:pt idx="86">
                  <c:v>66.626722744628466</c:v>
                </c:pt>
                <c:pt idx="87">
                  <c:v>65.980229933938432</c:v>
                </c:pt>
                <c:pt idx="88">
                  <c:v>65.287689582601985</c:v>
                </c:pt>
                <c:pt idx="89">
                  <c:v>64.550920846997371</c:v>
                </c:pt>
                <c:pt idx="90">
                  <c:v>63.771577032858687</c:v>
                </c:pt>
                <c:pt idx="91">
                  <c:v>62.951804069388601</c:v>
                </c:pt>
                <c:pt idx="92">
                  <c:v>62.094003451293979</c:v>
                </c:pt>
                <c:pt idx="93">
                  <c:v>61.200452357669619</c:v>
                </c:pt>
                <c:pt idx="94">
                  <c:v>60.273372868729453</c:v>
                </c:pt>
                <c:pt idx="95">
                  <c:v>59.3150817593861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.981759223940244</c:v>
                </c:pt>
                <c:pt idx="43">
                  <c:v>39.029202855704234</c:v>
                </c:pt>
                <c:pt idx="44">
                  <c:v>41.047946978590986</c:v>
                </c:pt>
                <c:pt idx="45">
                  <c:v>43.014521831040184</c:v>
                </c:pt>
                <c:pt idx="46">
                  <c:v>45.006086360215633</c:v>
                </c:pt>
                <c:pt idx="47">
                  <c:v>47.052496005411129</c:v>
                </c:pt>
                <c:pt idx="48">
                  <c:v>49.096816871982853</c:v>
                </c:pt>
                <c:pt idx="49">
                  <c:v>51.133892419174963</c:v>
                </c:pt>
                <c:pt idx="50">
                  <c:v>53.07483725720278</c:v>
                </c:pt>
                <c:pt idx="51">
                  <c:v>55.018185907584808</c:v>
                </c:pt>
                <c:pt idx="52">
                  <c:v>56.948621340801985</c:v>
                </c:pt>
                <c:pt idx="53">
                  <c:v>58.902349212386355</c:v>
                </c:pt>
                <c:pt idx="54">
                  <c:v>60.783727288111159</c:v>
                </c:pt>
                <c:pt idx="55">
                  <c:v>62.629872130948385</c:v>
                </c:pt>
                <c:pt idx="56">
                  <c:v>64.488732565085655</c:v>
                </c:pt>
                <c:pt idx="57">
                  <c:v>66.302960938767185</c:v>
                </c:pt>
                <c:pt idx="58">
                  <c:v>68.085993997928014</c:v>
                </c:pt>
                <c:pt idx="59">
                  <c:v>69.821503366809964</c:v>
                </c:pt>
                <c:pt idx="60">
                  <c:v>71.538688654608521</c:v>
                </c:pt>
                <c:pt idx="61">
                  <c:v>73.205032922566886</c:v>
                </c:pt>
                <c:pt idx="62">
                  <c:v>74.810815707687411</c:v>
                </c:pt>
                <c:pt idx="63">
                  <c:v>76.375391969197238</c:v>
                </c:pt>
                <c:pt idx="64">
                  <c:v>77.902598169380042</c:v>
                </c:pt>
                <c:pt idx="65">
                  <c:v>79.360264452110272</c:v>
                </c:pt>
                <c:pt idx="66">
                  <c:v>80.748112187743999</c:v>
                </c:pt>
                <c:pt idx="67">
                  <c:v>82.074353060122121</c:v>
                </c:pt>
                <c:pt idx="68">
                  <c:v>83.340775742832122</c:v>
                </c:pt>
                <c:pt idx="69">
                  <c:v>84.541060817886901</c:v>
                </c:pt>
                <c:pt idx="70">
                  <c:v>85.66817313576621</c:v>
                </c:pt>
                <c:pt idx="71">
                  <c:v>86.727157266516102</c:v>
                </c:pt>
                <c:pt idx="72">
                  <c:v>87.703828759266031</c:v>
                </c:pt>
                <c:pt idx="73">
                  <c:v>88.596997194813895</c:v>
                </c:pt>
                <c:pt idx="74">
                  <c:v>89.396831554077721</c:v>
                </c:pt>
                <c:pt idx="75">
                  <c:v>90.11119070455311</c:v>
                </c:pt>
                <c:pt idx="76">
                  <c:v>90.738220268225092</c:v>
                </c:pt>
                <c:pt idx="77">
                  <c:v>91.274998203542822</c:v>
                </c:pt>
                <c:pt idx="78">
                  <c:v>91.716355053052681</c:v>
                </c:pt>
                <c:pt idx="79">
                  <c:v>92.058227411794277</c:v>
                </c:pt>
                <c:pt idx="80">
                  <c:v>92.302792203448249</c:v>
                </c:pt>
                <c:pt idx="81">
                  <c:v>92.450150224991432</c:v>
                </c:pt>
                <c:pt idx="82">
                  <c:v>92.499490407307945</c:v>
                </c:pt>
                <c:pt idx="83">
                  <c:v>92.449659123898343</c:v>
                </c:pt>
                <c:pt idx="84">
                  <c:v>92.301616400223509</c:v>
                </c:pt>
                <c:pt idx="85">
                  <c:v>92.056388744028979</c:v>
                </c:pt>
                <c:pt idx="86">
                  <c:v>91.715317150020724</c:v>
                </c:pt>
                <c:pt idx="87">
                  <c:v>91.279710194486256</c:v>
                </c:pt>
                <c:pt idx="88">
                  <c:v>90.751634886225531</c:v>
                </c:pt>
                <c:pt idx="89">
                  <c:v>90.133099745900708</c:v>
                </c:pt>
                <c:pt idx="90">
                  <c:v>89.426168833958471</c:v>
                </c:pt>
                <c:pt idx="91">
                  <c:v>88.63361090808948</c:v>
                </c:pt>
                <c:pt idx="92">
                  <c:v>87.75865443725084</c:v>
                </c:pt>
                <c:pt idx="93">
                  <c:v>86.8045963245211</c:v>
                </c:pt>
                <c:pt idx="94">
                  <c:v>85.774856412165065</c:v>
                </c:pt>
                <c:pt idx="95">
                  <c:v>84.673106159142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7.058010173832614</c:v>
                </c:pt>
                <c:pt idx="43">
                  <c:v>39.212741305480151</c:v>
                </c:pt>
                <c:pt idx="44">
                  <c:v>41.373727497325966</c:v>
                </c:pt>
                <c:pt idx="45">
                  <c:v>43.521249454062975</c:v>
                </c:pt>
                <c:pt idx="46">
                  <c:v>45.735237791174811</c:v>
                </c:pt>
                <c:pt idx="47">
                  <c:v>48.049659212988033</c:v>
                </c:pt>
                <c:pt idx="48">
                  <c:v>50.408880897126245</c:v>
                </c:pt>
                <c:pt idx="49">
                  <c:v>52.80998949564453</c:v>
                </c:pt>
                <c:pt idx="50">
                  <c:v>55.164842509749185</c:v>
                </c:pt>
                <c:pt idx="51">
                  <c:v>57.572868840558748</c:v>
                </c:pt>
                <c:pt idx="52">
                  <c:v>60.019185949183537</c:v>
                </c:pt>
                <c:pt idx="53">
                  <c:v>62.53945493785973</c:v>
                </c:pt>
                <c:pt idx="54">
                  <c:v>65.037778157516925</c:v>
                </c:pt>
                <c:pt idx="55">
                  <c:v>67.549724240027103</c:v>
                </c:pt>
                <c:pt idx="56">
                  <c:v>70.122079733078252</c:v>
                </c:pt>
                <c:pt idx="57">
                  <c:v>72.695596880647798</c:v>
                </c:pt>
                <c:pt idx="58">
                  <c:v>75.281176067047085</c:v>
                </c:pt>
                <c:pt idx="59">
                  <c:v>77.85829910355244</c:v>
                </c:pt>
                <c:pt idx="60">
                  <c:v>80.453568398970205</c:v>
                </c:pt>
                <c:pt idx="61">
                  <c:v>83.030120628364017</c:v>
                </c:pt>
                <c:pt idx="62">
                  <c:v>85.57466826454953</c:v>
                </c:pt>
                <c:pt idx="63">
                  <c:v>88.103053964314228</c:v>
                </c:pt>
                <c:pt idx="64">
                  <c:v>90.614313351937284</c:v>
                </c:pt>
                <c:pt idx="65">
                  <c:v>93.071535296702308</c:v>
                </c:pt>
                <c:pt idx="66">
                  <c:v>95.469748947795125</c:v>
                </c:pt>
                <c:pt idx="67">
                  <c:v>97.812787675255692</c:v>
                </c:pt>
                <c:pt idx="68">
                  <c:v>100.0974770460239</c:v>
                </c:pt>
                <c:pt idx="69">
                  <c:v>102.3124366789735</c:v>
                </c:pt>
                <c:pt idx="70">
                  <c:v>104.44536168532355</c:v>
                </c:pt>
                <c:pt idx="71">
                  <c:v>106.49593803861819</c:v>
                </c:pt>
                <c:pt idx="72">
                  <c:v>108.44451907802403</c:v>
                </c:pt>
                <c:pt idx="73">
                  <c:v>110.28491696062943</c:v>
                </c:pt>
                <c:pt idx="74">
                  <c:v>112.00222490884863</c:v>
                </c:pt>
                <c:pt idx="75">
                  <c:v>113.59956634907923</c:v>
                </c:pt>
                <c:pt idx="76">
                  <c:v>115.07040620247318</c:v>
                </c:pt>
                <c:pt idx="77">
                  <c:v>116.40736779461434</c:v>
                </c:pt>
                <c:pt idx="78">
                  <c:v>117.60080403074558</c:v>
                </c:pt>
                <c:pt idx="79">
                  <c:v>118.64263435809289</c:v>
                </c:pt>
                <c:pt idx="80">
                  <c:v>119.53163195339485</c:v>
                </c:pt>
                <c:pt idx="81">
                  <c:v>120.26469003446996</c:v>
                </c:pt>
                <c:pt idx="82">
                  <c:v>120.83818570671036</c:v>
                </c:pt>
                <c:pt idx="83">
                  <c:v>121.248569968748</c:v>
                </c:pt>
                <c:pt idx="84">
                  <c:v>121.49483756889043</c:v>
                </c:pt>
                <c:pt idx="85">
                  <c:v>121.57649967690929</c:v>
                </c:pt>
                <c:pt idx="86">
                  <c:v>121.49383678419771</c:v>
                </c:pt>
                <c:pt idx="87">
                  <c:v>121.24755720385173</c:v>
                </c:pt>
                <c:pt idx="88">
                  <c:v>120.83958390192728</c:v>
                </c:pt>
                <c:pt idx="89">
                  <c:v>120.27222845883064</c:v>
                </c:pt>
                <c:pt idx="90">
                  <c:v>119.54828898336353</c:v>
                </c:pt>
                <c:pt idx="91">
                  <c:v>118.67168280878056</c:v>
                </c:pt>
                <c:pt idx="92">
                  <c:v>117.64718348857983</c:v>
                </c:pt>
                <c:pt idx="93">
                  <c:v>116.48000577907111</c:v>
                </c:pt>
                <c:pt idx="94">
                  <c:v>115.17583089268246</c:v>
                </c:pt>
                <c:pt idx="95">
                  <c:v>113.74090469558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5</c:v>
                </c:pt>
                <c:pt idx="44">
                  <c:v>5</c:v>
                </c:pt>
                <c:pt idx="45">
                  <c:v>6</c:v>
                </c:pt>
                <c:pt idx="46">
                  <c:v>5</c:v>
                </c:pt>
                <c:pt idx="47">
                  <c:v>5</c:v>
                </c:pt>
                <c:pt idx="48">
                  <c:v>7</c:v>
                </c:pt>
                <c:pt idx="49">
                  <c:v>8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11</c:v>
                </c:pt>
                <c:pt idx="54">
                  <c:v>11</c:v>
                </c:pt>
                <c:pt idx="55">
                  <c:v>11</c:v>
                </c:pt>
                <c:pt idx="56">
                  <c:v>12</c:v>
                </c:pt>
                <c:pt idx="57">
                  <c:v>11</c:v>
                </c:pt>
                <c:pt idx="58">
                  <c:v>9</c:v>
                </c:pt>
                <c:pt idx="59">
                  <c:v>10</c:v>
                </c:pt>
                <c:pt idx="60">
                  <c:v>10</c:v>
                </c:pt>
                <c:pt idx="61">
                  <c:v>11</c:v>
                </c:pt>
                <c:pt idx="6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.3650396350501897</c:v>
                </c:pt>
                <c:pt idx="43">
                  <c:v>6.6994785851421064</c:v>
                </c:pt>
                <c:pt idx="44">
                  <c:v>7.0231969858950958</c:v>
                </c:pt>
                <c:pt idx="45">
                  <c:v>7.331423072313207</c:v>
                </c:pt>
                <c:pt idx="46">
                  <c:v>7.6371681694331297</c:v>
                </c:pt>
                <c:pt idx="47">
                  <c:v>7.9450253817350731</c:v>
                </c:pt>
                <c:pt idx="48">
                  <c:v>8.245281833942034</c:v>
                </c:pt>
                <c:pt idx="49">
                  <c:v>8.5366366063167511</c:v>
                </c:pt>
                <c:pt idx="50">
                  <c:v>8.8036749891728974</c:v>
                </c:pt>
                <c:pt idx="51">
                  <c:v>9.0636872634019277</c:v>
                </c:pt>
                <c:pt idx="52">
                  <c:v>9.3141084492033848</c:v>
                </c:pt>
                <c:pt idx="53">
                  <c:v>9.5613254020132494</c:v>
                </c:pt>
                <c:pt idx="54">
                  <c:v>9.7888646739515863</c:v>
                </c:pt>
                <c:pt idx="55">
                  <c:v>10.003773889715756</c:v>
                </c:pt>
                <c:pt idx="56">
                  <c:v>10.2145920828161</c:v>
                </c:pt>
                <c:pt idx="57">
                  <c:v>10.411787543294214</c:v>
                </c:pt>
                <c:pt idx="58">
                  <c:v>10.598107082709188</c:v>
                </c:pt>
                <c:pt idx="59">
                  <c:v>10.771602098856093</c:v>
                </c:pt>
                <c:pt idx="60">
                  <c:v>10.937837065956796</c:v>
                </c:pt>
                <c:pt idx="61">
                  <c:v>11.091710795966808</c:v>
                </c:pt>
                <c:pt idx="62">
                  <c:v>11.232214920169252</c:v>
                </c:pt>
                <c:pt idx="63">
                  <c:v>11.363149777045599</c:v>
                </c:pt>
                <c:pt idx="64">
                  <c:v>11.485965217282345</c:v>
                </c:pt>
                <c:pt idx="65">
                  <c:v>11.595699532232263</c:v>
                </c:pt>
                <c:pt idx="66">
                  <c:v>11.692954598063917</c:v>
                </c:pt>
                <c:pt idx="67">
                  <c:v>11.779700514800593</c:v>
                </c:pt>
                <c:pt idx="68">
                  <c:v>11.856832512978279</c:v>
                </c:pt>
                <c:pt idx="69">
                  <c:v>11.923851851076751</c:v>
                </c:pt>
                <c:pt idx="70">
                  <c:v>11.980168329532249</c:v>
                </c:pt>
                <c:pt idx="71">
                  <c:v>12.027299728765275</c:v>
                </c:pt>
                <c:pt idx="72">
                  <c:v>12.063403452081875</c:v>
                </c:pt>
                <c:pt idx="73">
                  <c:v>12.088790266873579</c:v>
                </c:pt>
                <c:pt idx="74">
                  <c:v>12.102305040492794</c:v>
                </c:pt>
                <c:pt idx="75">
                  <c:v>12.105778242941408</c:v>
                </c:pt>
                <c:pt idx="76">
                  <c:v>12.099356203381898</c:v>
                </c:pt>
                <c:pt idx="77">
                  <c:v>12.082979278016893</c:v>
                </c:pt>
                <c:pt idx="78">
                  <c:v>12.056216190187591</c:v>
                </c:pt>
                <c:pt idx="79">
                  <c:v>12.018764169056183</c:v>
                </c:pt>
                <c:pt idx="80">
                  <c:v>11.971300419530799</c:v>
                </c:pt>
                <c:pt idx="81">
                  <c:v>11.914141326296916</c:v>
                </c:pt>
                <c:pt idx="82">
                  <c:v>11.847405939212369</c:v>
                </c:pt>
                <c:pt idx="83">
                  <c:v>11.771113352799505</c:v>
                </c:pt>
                <c:pt idx="84">
                  <c:v>11.685604136292305</c:v>
                </c:pt>
                <c:pt idx="85">
                  <c:v>11.591188092365616</c:v>
                </c:pt>
                <c:pt idx="86">
                  <c:v>11.488186939741837</c:v>
                </c:pt>
                <c:pt idx="87">
                  <c:v>11.376874269232976</c:v>
                </c:pt>
                <c:pt idx="88">
                  <c:v>11.257613099473041</c:v>
                </c:pt>
                <c:pt idx="89">
                  <c:v>11.130717037531074</c:v>
                </c:pt>
                <c:pt idx="90">
                  <c:v>10.996471765055212</c:v>
                </c:pt>
                <c:pt idx="91">
                  <c:v>10.855246820432216</c:v>
                </c:pt>
                <c:pt idx="92">
                  <c:v>10.707455589241581</c:v>
                </c:pt>
                <c:pt idx="93">
                  <c:v>10.553490415018906</c:v>
                </c:pt>
                <c:pt idx="94">
                  <c:v>10.393734376943605</c:v>
                </c:pt>
                <c:pt idx="95">
                  <c:v>10.228586800086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.3780846048324182</c:v>
                </c:pt>
                <c:pt idx="43">
                  <c:v>6.7307874703567272</c:v>
                </c:pt>
                <c:pt idx="44">
                  <c:v>7.0785815058096828</c:v>
                </c:pt>
                <c:pt idx="45">
                  <c:v>7.4172376816663466</c:v>
                </c:pt>
                <c:pt idx="46">
                  <c:v>7.7601246065641565</c:v>
                </c:pt>
                <c:pt idx="47">
                  <c:v>8.1124083727910641</c:v>
                </c:pt>
                <c:pt idx="48">
                  <c:v>8.4644580280509523</c:v>
                </c:pt>
                <c:pt idx="49">
                  <c:v>8.8152077506176134</c:v>
                </c:pt>
                <c:pt idx="50">
                  <c:v>9.1492148470128249</c:v>
                </c:pt>
                <c:pt idx="51">
                  <c:v>9.4837700562583205</c:v>
                </c:pt>
                <c:pt idx="52">
                  <c:v>9.8162280581901538</c:v>
                </c:pt>
                <c:pt idx="53">
                  <c:v>10.152735425038994</c:v>
                </c:pt>
                <c:pt idx="54">
                  <c:v>10.476636887731019</c:v>
                </c:pt>
                <c:pt idx="55">
                  <c:v>10.794594517734675</c:v>
                </c:pt>
                <c:pt idx="56">
                  <c:v>11.114842041186773</c:v>
                </c:pt>
                <c:pt idx="57">
                  <c:v>11.427434647237561</c:v>
                </c:pt>
                <c:pt idx="58">
                  <c:v>11.73462188932076</c:v>
                </c:pt>
                <c:pt idx="59">
                  <c:v>12.033699814256741</c:v>
                </c:pt>
                <c:pt idx="60">
                  <c:v>12.32978035661621</c:v>
                </c:pt>
                <c:pt idx="61">
                  <c:v>12.617037302106459</c:v>
                </c:pt>
                <c:pt idx="62">
                  <c:v>12.89390620608564</c:v>
                </c:pt>
                <c:pt idx="63">
                  <c:v>13.163671880052076</c:v>
                </c:pt>
                <c:pt idx="64">
                  <c:v>13.427083813456893</c:v>
                </c:pt>
                <c:pt idx="65">
                  <c:v>13.678516927861487</c:v>
                </c:pt>
                <c:pt idx="66">
                  <c:v>13.917949305911991</c:v>
                </c:pt>
                <c:pt idx="67">
                  <c:v>14.146810226559282</c:v>
                </c:pt>
                <c:pt idx="68">
                  <c:v>14.365381449675837</c:v>
                </c:pt>
                <c:pt idx="69">
                  <c:v>14.5725588338295</c:v>
                </c:pt>
                <c:pt idx="70">
                  <c:v>14.767132299773643</c:v>
                </c:pt>
                <c:pt idx="71">
                  <c:v>14.950004060441167</c:v>
                </c:pt>
                <c:pt idx="72">
                  <c:v>15.118710894180797</c:v>
                </c:pt>
                <c:pt idx="73">
                  <c:v>15.273032093817001</c:v>
                </c:pt>
                <c:pt idx="74">
                  <c:v>15.411273507779036</c:v>
                </c:pt>
                <c:pt idx="75">
                  <c:v>15.534786840069355</c:v>
                </c:pt>
                <c:pt idx="76">
                  <c:v>15.643245462649016</c:v>
                </c:pt>
                <c:pt idx="77">
                  <c:v>15.736147840300024</c:v>
                </c:pt>
                <c:pt idx="78">
                  <c:v>15.812605250606087</c:v>
                </c:pt>
                <c:pt idx="79">
                  <c:v>15.871919982875884</c:v>
                </c:pt>
                <c:pt idx="80">
                  <c:v>15.914458658250258</c:v>
                </c:pt>
                <c:pt idx="81">
                  <c:v>15.94023688851804</c:v>
                </c:pt>
                <c:pt idx="82">
                  <c:v>15.949113666201669</c:v>
                </c:pt>
                <c:pt idx="83">
                  <c:v>15.940889401938875</c:v>
                </c:pt>
                <c:pt idx="84">
                  <c:v>15.915727281895599</c:v>
                </c:pt>
                <c:pt idx="85">
                  <c:v>15.873802570087207</c:v>
                </c:pt>
                <c:pt idx="86">
                  <c:v>15.815344773314706</c:v>
                </c:pt>
                <c:pt idx="87">
                  <c:v>15.740577656275342</c:v>
                </c:pt>
                <c:pt idx="88">
                  <c:v>15.649855821083872</c:v>
                </c:pt>
                <c:pt idx="89">
                  <c:v>15.543524617766291</c:v>
                </c:pt>
                <c:pt idx="90">
                  <c:v>15.421939687617597</c:v>
                </c:pt>
                <c:pt idx="91">
                  <c:v>15.28557714509801</c:v>
                </c:pt>
                <c:pt idx="92">
                  <c:v>15.134992199771666</c:v>
                </c:pt>
                <c:pt idx="93">
                  <c:v>14.970752304380847</c:v>
                </c:pt>
                <c:pt idx="94">
                  <c:v>14.793446403346586</c:v>
                </c:pt>
                <c:pt idx="95">
                  <c:v>14.603706818939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.3912035423219944</c:v>
                </c:pt>
                <c:pt idx="43">
                  <c:v>6.7623653814109765</c:v>
                </c:pt>
                <c:pt idx="44">
                  <c:v>7.1346360685762225</c:v>
                </c:pt>
                <c:pt idx="45">
                  <c:v>7.5044336118746138</c:v>
                </c:pt>
                <c:pt idx="46">
                  <c:v>7.8856040970343333</c:v>
                </c:pt>
                <c:pt idx="47">
                  <c:v>8.2840213420577307</c:v>
                </c:pt>
                <c:pt idx="48">
                  <c:v>8.6902806463868991</c:v>
                </c:pt>
                <c:pt idx="49">
                  <c:v>9.1037043340819963</c:v>
                </c:pt>
                <c:pt idx="50">
                  <c:v>9.5089785376085771</c:v>
                </c:pt>
                <c:pt idx="51">
                  <c:v>9.9235526595270649</c:v>
                </c:pt>
                <c:pt idx="52">
                  <c:v>10.344856694714579</c:v>
                </c:pt>
                <c:pt idx="53">
                  <c:v>10.778945162204767</c:v>
                </c:pt>
                <c:pt idx="54">
                  <c:v>11.20911849384699</c:v>
                </c:pt>
                <c:pt idx="55">
                  <c:v>11.641775472398702</c:v>
                </c:pt>
                <c:pt idx="56">
                  <c:v>12.084950597060917</c:v>
                </c:pt>
                <c:pt idx="57">
                  <c:v>12.528371279860977</c:v>
                </c:pt>
                <c:pt idx="58">
                  <c:v>12.973852378773522</c:v>
                </c:pt>
                <c:pt idx="59">
                  <c:v>13.417970577665226</c:v>
                </c:pt>
                <c:pt idx="60">
                  <c:v>13.865392653596686</c:v>
                </c:pt>
                <c:pt idx="61">
                  <c:v>14.309542681375024</c:v>
                </c:pt>
                <c:pt idx="62">
                  <c:v>14.748242731377129</c:v>
                </c:pt>
                <c:pt idx="63">
                  <c:v>15.184171788009518</c:v>
                </c:pt>
                <c:pt idx="64">
                  <c:v>15.617254967204817</c:v>
                </c:pt>
                <c:pt idx="65">
                  <c:v>16.041049297183822</c:v>
                </c:pt>
                <c:pt idx="66">
                  <c:v>16.454725158205598</c:v>
                </c:pt>
                <c:pt idx="67">
                  <c:v>16.8589569489918</c:v>
                </c:pt>
                <c:pt idx="68">
                  <c:v>17.253171033095803</c:v>
                </c:pt>
                <c:pt idx="69">
                  <c:v>17.635390825377922</c:v>
                </c:pt>
                <c:pt idx="70">
                  <c:v>18.003497315662088</c:v>
                </c:pt>
                <c:pt idx="71">
                  <c:v>18.35746938078417</c:v>
                </c:pt>
                <c:pt idx="72">
                  <c:v>18.693901496157061</c:v>
                </c:pt>
                <c:pt idx="73">
                  <c:v>19.011710290929628</c:v>
                </c:pt>
                <c:pt idx="74">
                  <c:v>19.308325587024228</c:v>
                </c:pt>
                <c:pt idx="75">
                  <c:v>19.58428194736576</c:v>
                </c:pt>
                <c:pt idx="76">
                  <c:v>19.838444629899982</c:v>
                </c:pt>
                <c:pt idx="77">
                  <c:v>20.069542794753083</c:v>
                </c:pt>
                <c:pt idx="78">
                  <c:v>20.275914883705653</c:v>
                </c:pt>
                <c:pt idx="79">
                  <c:v>20.45616932087043</c:v>
                </c:pt>
                <c:pt idx="80">
                  <c:v>20.610083976682077</c:v>
                </c:pt>
                <c:pt idx="81">
                  <c:v>20.737119780788063</c:v>
                </c:pt>
                <c:pt idx="82">
                  <c:v>20.836649203800711</c:v>
                </c:pt>
                <c:pt idx="83">
                  <c:v>20.908057882125323</c:v>
                </c:pt>
                <c:pt idx="84">
                  <c:v>20.951168343198624</c:v>
                </c:pt>
                <c:pt idx="85">
                  <c:v>20.965892734742688</c:v>
                </c:pt>
                <c:pt idx="86">
                  <c:v>20.952275861699622</c:v>
                </c:pt>
                <c:pt idx="87">
                  <c:v>20.910436149248973</c:v>
                </c:pt>
                <c:pt idx="88">
                  <c:v>20.840701546739691</c:v>
                </c:pt>
                <c:pt idx="89">
                  <c:v>20.743467886986526</c:v>
                </c:pt>
                <c:pt idx="90">
                  <c:v>20.619215679478803</c:v>
                </c:pt>
                <c:pt idx="91">
                  <c:v>20.468617470750495</c:v>
                </c:pt>
                <c:pt idx="92">
                  <c:v>20.292493368395256</c:v>
                </c:pt>
                <c:pt idx="93">
                  <c:v>20.091740107032891</c:v>
                </c:pt>
                <c:pt idx="94">
                  <c:v>19.86733526893293</c:v>
                </c:pt>
                <c:pt idx="95">
                  <c:v>19.620353924782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7</c:v>
                </c:pt>
                <c:pt idx="11">
                  <c:v>7</c:v>
                </c:pt>
                <c:pt idx="12">
                  <c:v>8</c:v>
                </c:pt>
                <c:pt idx="13">
                  <c:v>10</c:v>
                </c:pt>
                <c:pt idx="14">
                  <c:v>9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11</c:v>
                </c:pt>
                <c:pt idx="20">
                  <c:v>14</c:v>
                </c:pt>
                <c:pt idx="21">
                  <c:v>15</c:v>
                </c:pt>
                <c:pt idx="22">
                  <c:v>14</c:v>
                </c:pt>
                <c:pt idx="23">
                  <c:v>14</c:v>
                </c:pt>
                <c:pt idx="24">
                  <c:v>16</c:v>
                </c:pt>
                <c:pt idx="25">
                  <c:v>20</c:v>
                </c:pt>
                <c:pt idx="26">
                  <c:v>21</c:v>
                </c:pt>
                <c:pt idx="27">
                  <c:v>19</c:v>
                </c:pt>
                <c:pt idx="28">
                  <c:v>18</c:v>
                </c:pt>
                <c:pt idx="29">
                  <c:v>19</c:v>
                </c:pt>
                <c:pt idx="30">
                  <c:v>18</c:v>
                </c:pt>
                <c:pt idx="31">
                  <c:v>25</c:v>
                </c:pt>
                <c:pt idx="32">
                  <c:v>23</c:v>
                </c:pt>
                <c:pt idx="33">
                  <c:v>25</c:v>
                </c:pt>
                <c:pt idx="34">
                  <c:v>26</c:v>
                </c:pt>
                <c:pt idx="35">
                  <c:v>24</c:v>
                </c:pt>
                <c:pt idx="36">
                  <c:v>27</c:v>
                </c:pt>
                <c:pt idx="37">
                  <c:v>27</c:v>
                </c:pt>
                <c:pt idx="38">
                  <c:v>29</c:v>
                </c:pt>
                <c:pt idx="39">
                  <c:v>29</c:v>
                </c:pt>
                <c:pt idx="40">
                  <c:v>30</c:v>
                </c:pt>
                <c:pt idx="41">
                  <c:v>26</c:v>
                </c:pt>
                <c:pt idx="42">
                  <c:v>22</c:v>
                </c:pt>
                <c:pt idx="43">
                  <c:v>24</c:v>
                </c:pt>
                <c:pt idx="44">
                  <c:v>27</c:v>
                </c:pt>
                <c:pt idx="45">
                  <c:v>33</c:v>
                </c:pt>
                <c:pt idx="46">
                  <c:v>35</c:v>
                </c:pt>
                <c:pt idx="47">
                  <c:v>42</c:v>
                </c:pt>
                <c:pt idx="48">
                  <c:v>43</c:v>
                </c:pt>
                <c:pt idx="49">
                  <c:v>42</c:v>
                </c:pt>
                <c:pt idx="50">
                  <c:v>44</c:v>
                </c:pt>
                <c:pt idx="51">
                  <c:v>48</c:v>
                </c:pt>
                <c:pt idx="52">
                  <c:v>46</c:v>
                </c:pt>
                <c:pt idx="53">
                  <c:v>53</c:v>
                </c:pt>
                <c:pt idx="54">
                  <c:v>51</c:v>
                </c:pt>
                <c:pt idx="55">
                  <c:v>51</c:v>
                </c:pt>
                <c:pt idx="56">
                  <c:v>57</c:v>
                </c:pt>
                <c:pt idx="57">
                  <c:v>60</c:v>
                </c:pt>
                <c:pt idx="58">
                  <c:v>63</c:v>
                </c:pt>
                <c:pt idx="59">
                  <c:v>64</c:v>
                </c:pt>
                <c:pt idx="60">
                  <c:v>67</c:v>
                </c:pt>
                <c:pt idx="61">
                  <c:v>59</c:v>
                </c:pt>
                <c:pt idx="6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1.709009714965266</c:v>
                </c:pt>
                <c:pt idx="43">
                  <c:v>33.356932938878572</c:v>
                </c:pt>
                <c:pt idx="44">
                  <c:v>34.953972744144025</c:v>
                </c:pt>
                <c:pt idx="45">
                  <c:v>36.467402026759395</c:v>
                </c:pt>
                <c:pt idx="46">
                  <c:v>37.965075372831052</c:v>
                </c:pt>
                <c:pt idx="47">
                  <c:v>39.470768348071303</c:v>
                </c:pt>
                <c:pt idx="48">
                  <c:v>40.945269863135387</c:v>
                </c:pt>
                <c:pt idx="49">
                  <c:v>42.37332955780726</c:v>
                </c:pt>
                <c:pt idx="50">
                  <c:v>43.672547929513172</c:v>
                </c:pt>
                <c:pt idx="51">
                  <c:v>44.943469424820812</c:v>
                </c:pt>
                <c:pt idx="52">
                  <c:v>46.17311714338814</c:v>
                </c:pt>
                <c:pt idx="53">
                  <c:v>47.388405075120943</c:v>
                </c:pt>
                <c:pt idx="54">
                  <c:v>48.499390213362517</c:v>
                </c:pt>
                <c:pt idx="55">
                  <c:v>49.553859854320983</c:v>
                </c:pt>
                <c:pt idx="56">
                  <c:v>50.59253940856842</c:v>
                </c:pt>
                <c:pt idx="57">
                  <c:v>51.565289553927116</c:v>
                </c:pt>
                <c:pt idx="58">
                  <c:v>52.482334572634933</c:v>
                </c:pt>
                <c:pt idx="59">
                  <c:v>53.339356061114486</c:v>
                </c:pt>
                <c:pt idx="60">
                  <c:v>54.167707317493381</c:v>
                </c:pt>
                <c:pt idx="61">
                  <c:v>54.931256532225376</c:v>
                </c:pt>
                <c:pt idx="62">
                  <c:v>55.630444643774496</c:v>
                </c:pt>
                <c:pt idx="63">
                  <c:v>56.281611343400371</c:v>
                </c:pt>
                <c:pt idx="64">
                  <c:v>56.896160628199169</c:v>
                </c:pt>
                <c:pt idx="65">
                  <c:v>57.445625528345197</c:v>
                </c:pt>
                <c:pt idx="66">
                  <c:v>57.934245380659519</c:v>
                </c:pt>
                <c:pt idx="67">
                  <c:v>58.372493513522826</c:v>
                </c:pt>
                <c:pt idx="68">
                  <c:v>58.763509857844539</c:v>
                </c:pt>
                <c:pt idx="69">
                  <c:v>59.104110508951763</c:v>
                </c:pt>
                <c:pt idx="70">
                  <c:v>59.39153905135877</c:v>
                </c:pt>
                <c:pt idx="71">
                  <c:v>59.634918504385922</c:v>
                </c:pt>
                <c:pt idx="72">
                  <c:v>59.824262876962344</c:v>
                </c:pt>
                <c:pt idx="73">
                  <c:v>59.960407812862549</c:v>
                </c:pt>
                <c:pt idx="74">
                  <c:v>60.037700824458057</c:v>
                </c:pt>
                <c:pt idx="75">
                  <c:v>60.065099458557633</c:v>
                </c:pt>
                <c:pt idx="76">
                  <c:v>60.043032813940371</c:v>
                </c:pt>
                <c:pt idx="77">
                  <c:v>59.97136255590209</c:v>
                </c:pt>
                <c:pt idx="78">
                  <c:v>59.84809326600508</c:v>
                </c:pt>
                <c:pt idx="79">
                  <c:v>59.671899776981299</c:v>
                </c:pt>
                <c:pt idx="80">
                  <c:v>59.445780469785163</c:v>
                </c:pt>
                <c:pt idx="81">
                  <c:v>59.171268095581226</c:v>
                </c:pt>
                <c:pt idx="82">
                  <c:v>58.848945262922399</c:v>
                </c:pt>
                <c:pt idx="83">
                  <c:v>58.478921786718615</c:v>
                </c:pt>
                <c:pt idx="84">
                  <c:v>58.06282271121124</c:v>
                </c:pt>
                <c:pt idx="85">
                  <c:v>57.602150692138032</c:v>
                </c:pt>
                <c:pt idx="86">
                  <c:v>57.098467933981652</c:v>
                </c:pt>
                <c:pt idx="87">
                  <c:v>56.553089238566287</c:v>
                </c:pt>
                <c:pt idx="88">
                  <c:v>55.967776079286836</c:v>
                </c:pt>
                <c:pt idx="89">
                  <c:v>55.34408403720856</c:v>
                </c:pt>
                <c:pt idx="90">
                  <c:v>54.683463004363922</c:v>
                </c:pt>
                <c:pt idx="91">
                  <c:v>53.98772619898515</c:v>
                </c:pt>
                <c:pt idx="92">
                  <c:v>53.258893973511007</c:v>
                </c:pt>
                <c:pt idx="93">
                  <c:v>52.498901481500894</c:v>
                </c:pt>
                <c:pt idx="94">
                  <c:v>51.709649471272741</c:v>
                </c:pt>
                <c:pt idx="95">
                  <c:v>50.893115396570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1.772437818747221</c:v>
                </c:pt>
                <c:pt idx="43">
                  <c:v>33.509175784539124</c:v>
                </c:pt>
                <c:pt idx="44">
                  <c:v>35.223473730582086</c:v>
                </c:pt>
                <c:pt idx="45">
                  <c:v>36.885329294585475</c:v>
                </c:pt>
                <c:pt idx="46">
                  <c:v>38.564361254382042</c:v>
                </c:pt>
                <c:pt idx="47">
                  <c:v>40.287144984133775</c:v>
                </c:pt>
                <c:pt idx="48">
                  <c:v>42.014978910377451</c:v>
                </c:pt>
                <c:pt idx="49">
                  <c:v>43.733855037195283</c:v>
                </c:pt>
                <c:pt idx="50">
                  <c:v>45.361275678339055</c:v>
                </c:pt>
                <c:pt idx="51">
                  <c:v>46.998008171814014</c:v>
                </c:pt>
                <c:pt idx="52">
                  <c:v>48.630694560968806</c:v>
                </c:pt>
                <c:pt idx="53">
                  <c:v>50.285140760165305</c:v>
                </c:pt>
                <c:pt idx="54">
                  <c:v>51.870479825258528</c:v>
                </c:pt>
                <c:pt idx="55">
                  <c:v>53.432749382673776</c:v>
                </c:pt>
                <c:pt idx="56">
                  <c:v>55.011201298507402</c:v>
                </c:pt>
                <c:pt idx="57">
                  <c:v>56.553618877237177</c:v>
                </c:pt>
                <c:pt idx="58">
                  <c:v>58.067865544751832</c:v>
                </c:pt>
                <c:pt idx="59">
                  <c:v>59.545997969114509</c:v>
                </c:pt>
                <c:pt idx="60">
                  <c:v>61.017227121533921</c:v>
                </c:pt>
                <c:pt idx="61">
                  <c:v>62.441777752492115</c:v>
                </c:pt>
                <c:pt idx="62">
                  <c:v>63.817376601571134</c:v>
                </c:pt>
                <c:pt idx="63">
                  <c:v>65.157762285982926</c:v>
                </c:pt>
                <c:pt idx="64">
                  <c:v>66.470997170530339</c:v>
                </c:pt>
                <c:pt idx="65">
                  <c:v>67.725270775679363</c:v>
                </c:pt>
                <c:pt idx="66">
                  <c:v>68.921762071666762</c:v>
                </c:pt>
                <c:pt idx="67">
                  <c:v>70.068233950245698</c:v>
                </c:pt>
                <c:pt idx="68">
                  <c:v>71.164772855002468</c:v>
                </c:pt>
                <c:pt idx="69">
                  <c:v>72.205175763775628</c:v>
                </c:pt>
                <c:pt idx="70">
                  <c:v>73.183574480370311</c:v>
                </c:pt>
                <c:pt idx="71">
                  <c:v>74.106050247887154</c:v>
                </c:pt>
                <c:pt idx="72">
                  <c:v>74.959500070449991</c:v>
                </c:pt>
                <c:pt idx="73">
                  <c:v>75.742065468551118</c:v>
                </c:pt>
                <c:pt idx="74">
                  <c:v>76.44537414581508</c:v>
                </c:pt>
                <c:pt idx="75">
                  <c:v>77.075978199062277</c:v>
                </c:pt>
                <c:pt idx="76">
                  <c:v>77.631914826506645</c:v>
                </c:pt>
                <c:pt idx="77">
                  <c:v>78.110804736833998</c:v>
                </c:pt>
                <c:pt idx="78">
                  <c:v>78.508360315275894</c:v>
                </c:pt>
                <c:pt idx="79">
                  <c:v>78.821258070479999</c:v>
                </c:pt>
                <c:pt idx="80">
                  <c:v>79.050889458403816</c:v>
                </c:pt>
                <c:pt idx="81">
                  <c:v>79.197244904485188</c:v>
                </c:pt>
                <c:pt idx="82">
                  <c:v>79.259566490426337</c:v>
                </c:pt>
                <c:pt idx="83">
                  <c:v>79.236828992080476</c:v>
                </c:pt>
                <c:pt idx="84">
                  <c:v>79.129727762301286</c:v>
                </c:pt>
                <c:pt idx="85">
                  <c:v>78.939048479152859</c:v>
                </c:pt>
                <c:pt idx="86">
                  <c:v>78.665847256701994</c:v>
                </c:pt>
                <c:pt idx="87">
                  <c:v>78.311144160741975</c:v>
                </c:pt>
                <c:pt idx="88">
                  <c:v>77.876612691234357</c:v>
                </c:pt>
                <c:pt idx="89">
                  <c:v>77.363921417294648</c:v>
                </c:pt>
                <c:pt idx="90">
                  <c:v>76.774825292734619</c:v>
                </c:pt>
                <c:pt idx="91">
                  <c:v>76.111627021891451</c:v>
                </c:pt>
                <c:pt idx="92">
                  <c:v>75.377013990976934</c:v>
                </c:pt>
                <c:pt idx="93">
                  <c:v>74.573756292637995</c:v>
                </c:pt>
                <c:pt idx="94">
                  <c:v>73.70474531820517</c:v>
                </c:pt>
                <c:pt idx="95">
                  <c:v>72.773087688387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1.836225752429648</c:v>
                </c:pt>
                <c:pt idx="43">
                  <c:v>33.662726934654373</c:v>
                </c:pt>
                <c:pt idx="44">
                  <c:v>35.49623359413232</c:v>
                </c:pt>
                <c:pt idx="45">
                  <c:v>37.309976978193717</c:v>
                </c:pt>
                <c:pt idx="46">
                  <c:v>39.175927774077316</c:v>
                </c:pt>
                <c:pt idx="47">
                  <c:v>41.124121518601285</c:v>
                </c:pt>
                <c:pt idx="48">
                  <c:v>43.117075451689402</c:v>
                </c:pt>
                <c:pt idx="49">
                  <c:v>45.142777816537873</c:v>
                </c:pt>
                <c:pt idx="50">
                  <c:v>47.119407308024108</c:v>
                </c:pt>
                <c:pt idx="51">
                  <c:v>49.1487391789193</c:v>
                </c:pt>
                <c:pt idx="52">
                  <c:v>51.217809398451109</c:v>
                </c:pt>
                <c:pt idx="53">
                  <c:v>53.352057163837614</c:v>
                </c:pt>
                <c:pt idx="54">
                  <c:v>55.460382593869554</c:v>
                </c:pt>
                <c:pt idx="55">
                  <c:v>57.58769292860589</c:v>
                </c:pt>
                <c:pt idx="56">
                  <c:v>59.772308002673924</c:v>
                </c:pt>
                <c:pt idx="57">
                  <c:v>61.960374634949332</c:v>
                </c:pt>
                <c:pt idx="58">
                  <c:v>64.15772585154302</c:v>
                </c:pt>
                <c:pt idx="59">
                  <c:v>66.35299430110399</c:v>
                </c:pt>
                <c:pt idx="60">
                  <c:v>68.573309943933381</c:v>
                </c:pt>
                <c:pt idx="61">
                  <c:v>70.775157501523751</c:v>
                </c:pt>
                <c:pt idx="62">
                  <c:v>72.953291974061088</c:v>
                </c:pt>
                <c:pt idx="63">
                  <c:v>75.118430332645659</c:v>
                </c:pt>
                <c:pt idx="64">
                  <c:v>77.274706062181167</c:v>
                </c:pt>
                <c:pt idx="65">
                  <c:v>79.386225171872454</c:v>
                </c:pt>
                <c:pt idx="66">
                  <c:v>81.450219195698651</c:v>
                </c:pt>
                <c:pt idx="67">
                  <c:v>83.470701858948303</c:v>
                </c:pt>
                <c:pt idx="68">
                  <c:v>85.443526504795756</c:v>
                </c:pt>
                <c:pt idx="69">
                  <c:v>87.358163685900436</c:v>
                </c:pt>
                <c:pt idx="70">
                  <c:v>89.204213338012607</c:v>
                </c:pt>
                <c:pt idx="71">
                  <c:v>90.983198402299706</c:v>
                </c:pt>
                <c:pt idx="72">
                  <c:v>92.677309028252267</c:v>
                </c:pt>
                <c:pt idx="73">
                  <c:v>94.280350955764362</c:v>
                </c:pt>
                <c:pt idx="74">
                  <c:v>95.779556797301268</c:v>
                </c:pt>
                <c:pt idx="75">
                  <c:v>97.177386376541662</c:v>
                </c:pt>
                <c:pt idx="76">
                  <c:v>98.467809194883671</c:v>
                </c:pt>
                <c:pt idx="77">
                  <c:v>99.644562741045178</c:v>
                </c:pt>
                <c:pt idx="78">
                  <c:v>100.69948009442263</c:v>
                </c:pt>
                <c:pt idx="79">
                  <c:v>101.62572976877901</c:v>
                </c:pt>
                <c:pt idx="80">
                  <c:v>102.42168553075774</c:v>
                </c:pt>
                <c:pt idx="81">
                  <c:v>103.084501477771</c:v>
                </c:pt>
                <c:pt idx="82">
                  <c:v>103.6109182858805</c:v>
                </c:pt>
                <c:pt idx="83">
                  <c:v>103.99776300230948</c:v>
                </c:pt>
                <c:pt idx="84">
                  <c:v>104.2439494220099</c:v>
                </c:pt>
                <c:pt idx="85">
                  <c:v>104.34886515164075</c:v>
                </c:pt>
                <c:pt idx="86">
                  <c:v>104.31255742921896</c:v>
                </c:pt>
                <c:pt idx="87">
                  <c:v>104.13543213317118</c:v>
                </c:pt>
                <c:pt idx="88">
                  <c:v>103.81894077002518</c:v>
                </c:pt>
                <c:pt idx="89">
                  <c:v>103.3649154337417</c:v>
                </c:pt>
                <c:pt idx="90">
                  <c:v>102.77564784779304</c:v>
                </c:pt>
                <c:pt idx="91">
                  <c:v>102.05433753809203</c:v>
                </c:pt>
                <c:pt idx="92">
                  <c:v>101.2049138053209</c:v>
                </c:pt>
                <c:pt idx="93">
                  <c:v>100.23171401954727</c:v>
                </c:pt>
                <c:pt idx="94">
                  <c:v>99.139498006292712</c:v>
                </c:pt>
                <c:pt idx="95">
                  <c:v>97.933516405689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5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6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8</c:v>
                </c:pt>
                <c:pt idx="30">
                  <c:v>8</c:v>
                </c:pt>
                <c:pt idx="31">
                  <c:v>10</c:v>
                </c:pt>
                <c:pt idx="32">
                  <c:v>10</c:v>
                </c:pt>
                <c:pt idx="33">
                  <c:v>7</c:v>
                </c:pt>
                <c:pt idx="34">
                  <c:v>5</c:v>
                </c:pt>
                <c:pt idx="35">
                  <c:v>4</c:v>
                </c:pt>
                <c:pt idx="36">
                  <c:v>5</c:v>
                </c:pt>
                <c:pt idx="37">
                  <c:v>5</c:v>
                </c:pt>
                <c:pt idx="38">
                  <c:v>8</c:v>
                </c:pt>
                <c:pt idx="39">
                  <c:v>6</c:v>
                </c:pt>
                <c:pt idx="40">
                  <c:v>7</c:v>
                </c:pt>
                <c:pt idx="41">
                  <c:v>5</c:v>
                </c:pt>
                <c:pt idx="42">
                  <c:v>9</c:v>
                </c:pt>
                <c:pt idx="43">
                  <c:v>11</c:v>
                </c:pt>
                <c:pt idx="44">
                  <c:v>14</c:v>
                </c:pt>
                <c:pt idx="45">
                  <c:v>19</c:v>
                </c:pt>
                <c:pt idx="46">
                  <c:v>19</c:v>
                </c:pt>
                <c:pt idx="47">
                  <c:v>22</c:v>
                </c:pt>
                <c:pt idx="48">
                  <c:v>25</c:v>
                </c:pt>
                <c:pt idx="49">
                  <c:v>28</c:v>
                </c:pt>
                <c:pt idx="50">
                  <c:v>29</c:v>
                </c:pt>
                <c:pt idx="51">
                  <c:v>32</c:v>
                </c:pt>
                <c:pt idx="52">
                  <c:v>37</c:v>
                </c:pt>
                <c:pt idx="53">
                  <c:v>37</c:v>
                </c:pt>
                <c:pt idx="54">
                  <c:v>35</c:v>
                </c:pt>
                <c:pt idx="55">
                  <c:v>39</c:v>
                </c:pt>
                <c:pt idx="56">
                  <c:v>39</c:v>
                </c:pt>
                <c:pt idx="57">
                  <c:v>38</c:v>
                </c:pt>
                <c:pt idx="58">
                  <c:v>39</c:v>
                </c:pt>
                <c:pt idx="59">
                  <c:v>45</c:v>
                </c:pt>
                <c:pt idx="60">
                  <c:v>45</c:v>
                </c:pt>
                <c:pt idx="61">
                  <c:v>48</c:v>
                </c:pt>
                <c:pt idx="62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4.885758976874712</c:v>
                </c:pt>
                <c:pt idx="43">
                  <c:v>26.181579165940526</c:v>
                </c:pt>
                <c:pt idx="44">
                  <c:v>27.437117550256495</c:v>
                </c:pt>
                <c:pt idx="45">
                  <c:v>28.627923027725931</c:v>
                </c:pt>
                <c:pt idx="46">
                  <c:v>29.80683084771734</c:v>
                </c:pt>
                <c:pt idx="47">
                  <c:v>30.992377330334911</c:v>
                </c:pt>
                <c:pt idx="48">
                  <c:v>32.152524895518411</c:v>
                </c:pt>
                <c:pt idx="49">
                  <c:v>33.27651287507306</c:v>
                </c:pt>
                <c:pt idx="50">
                  <c:v>34.300445221470312</c:v>
                </c:pt>
                <c:pt idx="51">
                  <c:v>35.301245985061854</c:v>
                </c:pt>
                <c:pt idx="52">
                  <c:v>36.268758067724065</c:v>
                </c:pt>
                <c:pt idx="53">
                  <c:v>37.224779540185395</c:v>
                </c:pt>
                <c:pt idx="54">
                  <c:v>38.099806679005262</c:v>
                </c:pt>
                <c:pt idx="55">
                  <c:v>38.92959728103223</c:v>
                </c:pt>
                <c:pt idx="56">
                  <c:v>39.746363203555319</c:v>
                </c:pt>
                <c:pt idx="57">
                  <c:v>40.511119986174357</c:v>
                </c:pt>
                <c:pt idx="58">
                  <c:v>41.232368407681854</c:v>
                </c:pt>
                <c:pt idx="59">
                  <c:v>41.905976930916495</c:v>
                </c:pt>
                <c:pt idx="60">
                  <c:v>42.556051740897438</c:v>
                </c:pt>
                <c:pt idx="61">
                  <c:v>43.155712616123054</c:v>
                </c:pt>
                <c:pt idx="62">
                  <c:v>43.704552851970234</c:v>
                </c:pt>
                <c:pt idx="63">
                  <c:v>44.215753265270749</c:v>
                </c:pt>
                <c:pt idx="64">
                  <c:v>44.697687908538327</c:v>
                </c:pt>
                <c:pt idx="65">
                  <c:v>45.128531883598448</c:v>
                </c:pt>
                <c:pt idx="66">
                  <c:v>45.511441343019627</c:v>
                </c:pt>
                <c:pt idx="67">
                  <c:v>45.854545175770085</c:v>
                </c:pt>
                <c:pt idx="68">
                  <c:v>46.160489475747248</c:v>
                </c:pt>
                <c:pt idx="69">
                  <c:v>46.426871795746955</c:v>
                </c:pt>
                <c:pt idx="70">
                  <c:v>46.651503533891528</c:v>
                </c:pt>
                <c:pt idx="71">
                  <c:v>46.841329434343535</c:v>
                </c:pt>
                <c:pt idx="72">
                  <c:v>46.988623446325946</c:v>
                </c:pt>
                <c:pt idx="73">
                  <c:v>47.094139552255669</c:v>
                </c:pt>
                <c:pt idx="74">
                  <c:v>47.153427522046343</c:v>
                </c:pt>
                <c:pt idx="75">
                  <c:v>47.173539620301</c:v>
                </c:pt>
                <c:pt idx="76">
                  <c:v>47.154853921145076</c:v>
                </c:pt>
                <c:pt idx="77">
                  <c:v>47.097239981869805</c:v>
                </c:pt>
                <c:pt idx="78">
                  <c:v>46.999110675190849</c:v>
                </c:pt>
                <c:pt idx="79">
                  <c:v>46.85940075602646</c:v>
                </c:pt>
                <c:pt idx="80">
                  <c:v>46.680515101695846</c:v>
                </c:pt>
                <c:pt idx="81">
                  <c:v>46.463662619109272</c:v>
                </c:pt>
                <c:pt idx="82">
                  <c:v>46.209301991154355</c:v>
                </c:pt>
                <c:pt idx="83">
                  <c:v>45.917517378621511</c:v>
                </c:pt>
                <c:pt idx="84">
                  <c:v>45.589594004709838</c:v>
                </c:pt>
                <c:pt idx="85">
                  <c:v>45.226716785751989</c:v>
                </c:pt>
                <c:pt idx="86">
                  <c:v>44.830117347301154</c:v>
                </c:pt>
                <c:pt idx="87">
                  <c:v>44.400834201879249</c:v>
                </c:pt>
                <c:pt idx="88">
                  <c:v>43.940256256823957</c:v>
                </c:pt>
                <c:pt idx="89">
                  <c:v>43.449605285126864</c:v>
                </c:pt>
                <c:pt idx="90">
                  <c:v>42.93001550825376</c:v>
                </c:pt>
                <c:pt idx="91">
                  <c:v>42.382913789836024</c:v>
                </c:pt>
                <c:pt idx="92">
                  <c:v>41.809891112731734</c:v>
                </c:pt>
                <c:pt idx="93">
                  <c:v>41.212468890493945</c:v>
                </c:pt>
                <c:pt idx="94">
                  <c:v>40.592139916569153</c:v>
                </c:pt>
                <c:pt idx="95">
                  <c:v>39.9504577664674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4.935753121329274</c:v>
                </c:pt>
                <c:pt idx="43">
                  <c:v>26.301575732397581</c:v>
                </c:pt>
                <c:pt idx="44">
                  <c:v>27.649509525736228</c:v>
                </c:pt>
                <c:pt idx="45">
                  <c:v>28.957238932934175</c:v>
                </c:pt>
                <c:pt idx="46">
                  <c:v>30.278985933810841</c:v>
                </c:pt>
                <c:pt idx="47">
                  <c:v>31.63549171615886</c:v>
                </c:pt>
                <c:pt idx="48">
                  <c:v>32.995104608318414</c:v>
                </c:pt>
                <c:pt idx="49">
                  <c:v>34.348029166648253</c:v>
                </c:pt>
                <c:pt idx="50">
                  <c:v>35.630286608443875</c:v>
                </c:pt>
                <c:pt idx="51">
                  <c:v>36.918945522331448</c:v>
                </c:pt>
                <c:pt idx="52">
                  <c:v>38.203547108796585</c:v>
                </c:pt>
                <c:pt idx="53">
                  <c:v>39.505007548270981</c:v>
                </c:pt>
                <c:pt idx="54">
                  <c:v>40.753100496159156</c:v>
                </c:pt>
                <c:pt idx="55">
                  <c:v>41.982187014685266</c:v>
                </c:pt>
                <c:pt idx="56">
                  <c:v>43.223315966515322</c:v>
                </c:pt>
                <c:pt idx="57">
                  <c:v>44.435875207885125</c:v>
                </c:pt>
                <c:pt idx="58">
                  <c:v>45.626496649079158</c:v>
                </c:pt>
                <c:pt idx="59">
                  <c:v>46.788184832936565</c:v>
                </c:pt>
                <c:pt idx="60">
                  <c:v>47.943349166513471</c:v>
                </c:pt>
                <c:pt idx="61">
                  <c:v>49.062254341293453</c:v>
                </c:pt>
                <c:pt idx="62">
                  <c:v>50.142355785585195</c:v>
                </c:pt>
                <c:pt idx="63">
                  <c:v>51.1947974752796</c:v>
                </c:pt>
                <c:pt idx="64">
                  <c:v>52.225310590166529</c:v>
                </c:pt>
                <c:pt idx="65">
                  <c:v>53.209451530834727</c:v>
                </c:pt>
                <c:pt idx="66">
                  <c:v>54.147968119057317</c:v>
                </c:pt>
                <c:pt idx="67">
                  <c:v>55.046864280150643</c:v>
                </c:pt>
                <c:pt idx="68">
                  <c:v>55.906389312818362</c:v>
                </c:pt>
                <c:pt idx="69">
                  <c:v>56.721771752718197</c:v>
                </c:pt>
                <c:pt idx="70">
                  <c:v>57.488384085182311</c:v>
                </c:pt>
                <c:pt idx="71">
                  <c:v>58.210780397955233</c:v>
                </c:pt>
                <c:pt idx="72">
                  <c:v>58.878791835709364</c:v>
                </c:pt>
                <c:pt idx="73">
                  <c:v>59.491064387172187</c:v>
                </c:pt>
                <c:pt idx="74">
                  <c:v>60.041018031062038</c:v>
                </c:pt>
                <c:pt idx="75">
                  <c:v>60.53381999944083</c:v>
                </c:pt>
                <c:pt idx="76">
                  <c:v>60.967976087596767</c:v>
                </c:pt>
                <c:pt idx="77">
                  <c:v>61.34160256325535</c:v>
                </c:pt>
                <c:pt idx="78">
                  <c:v>61.651315179908195</c:v>
                </c:pt>
                <c:pt idx="79">
                  <c:v>61.894484622088157</c:v>
                </c:pt>
                <c:pt idx="80">
                  <c:v>62.072262846393826</c:v>
                </c:pt>
                <c:pt idx="81">
                  <c:v>62.184654371492996</c:v>
                </c:pt>
                <c:pt idx="82">
                  <c:v>62.231072009826029</c:v>
                </c:pt>
                <c:pt idx="83">
                  <c:v>62.210715407970909</c:v>
                </c:pt>
                <c:pt idx="84">
                  <c:v>62.124146490633095</c:v>
                </c:pt>
                <c:pt idx="85">
                  <c:v>61.971993916962674</c:v>
                </c:pt>
                <c:pt idx="86">
                  <c:v>61.755098559552565</c:v>
                </c:pt>
                <c:pt idx="87">
                  <c:v>61.47427402498279</c:v>
                </c:pt>
                <c:pt idx="88">
                  <c:v>61.130846520562145</c:v>
                </c:pt>
                <c:pt idx="89">
                  <c:v>60.72613271357929</c:v>
                </c:pt>
                <c:pt idx="90">
                  <c:v>60.261512229938397</c:v>
                </c:pt>
                <c:pt idx="91">
                  <c:v>59.738801800016645</c:v>
                </c:pt>
                <c:pt idx="92">
                  <c:v>59.160121346946013</c:v>
                </c:pt>
                <c:pt idx="93">
                  <c:v>58.527652711968301</c:v>
                </c:pt>
                <c:pt idx="94">
                  <c:v>57.843670972900014</c:v>
                </c:pt>
                <c:pt idx="95">
                  <c:v>57.110620242738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4.986030859048004</c:v>
                </c:pt>
                <c:pt idx="43">
                  <c:v>26.422603474372131</c:v>
                </c:pt>
                <c:pt idx="44">
                  <c:v>27.864470019735968</c:v>
                </c:pt>
                <c:pt idx="45">
                  <c:v>29.291851307764791</c:v>
                </c:pt>
                <c:pt idx="46">
                  <c:v>30.76081882236771</c:v>
                </c:pt>
                <c:pt idx="47">
                  <c:v>32.294838374232611</c:v>
                </c:pt>
                <c:pt idx="48">
                  <c:v>33.863202206456698</c:v>
                </c:pt>
                <c:pt idx="49">
                  <c:v>35.457672934090581</c:v>
                </c:pt>
                <c:pt idx="50">
                  <c:v>37.014797842766583</c:v>
                </c:pt>
                <c:pt idx="51">
                  <c:v>38.612406587995764</c:v>
                </c:pt>
                <c:pt idx="52">
                  <c:v>40.240346950272496</c:v>
                </c:pt>
                <c:pt idx="53">
                  <c:v>41.919234648702115</c:v>
                </c:pt>
                <c:pt idx="54">
                  <c:v>43.578662213379218</c:v>
                </c:pt>
                <c:pt idx="55">
                  <c:v>45.252078591724498</c:v>
                </c:pt>
                <c:pt idx="56">
                  <c:v>46.969792842850424</c:v>
                </c:pt>
                <c:pt idx="57">
                  <c:v>48.689908975460042</c:v>
                </c:pt>
                <c:pt idx="58">
                  <c:v>50.417446791333191</c:v>
                </c:pt>
                <c:pt idx="59">
                  <c:v>52.142701610876756</c:v>
                </c:pt>
                <c:pt idx="60">
                  <c:v>53.886430804425203</c:v>
                </c:pt>
                <c:pt idx="61">
                  <c:v>55.615964537223718</c:v>
                </c:pt>
                <c:pt idx="62">
                  <c:v>57.326414328278737</c:v>
                </c:pt>
                <c:pt idx="63">
                  <c:v>59.02655320701254</c:v>
                </c:pt>
                <c:pt idx="64">
                  <c:v>60.719004390277398</c:v>
                </c:pt>
                <c:pt idx="65">
                  <c:v>62.37612070731813</c:v>
                </c:pt>
                <c:pt idx="66">
                  <c:v>63.995541450887288</c:v>
                </c:pt>
                <c:pt idx="67">
                  <c:v>65.580326560000145</c:v>
                </c:pt>
                <c:pt idx="68">
                  <c:v>67.127399231698291</c:v>
                </c:pt>
                <c:pt idx="69">
                  <c:v>68.628589814175328</c:v>
                </c:pt>
                <c:pt idx="70">
                  <c:v>70.075714631423324</c:v>
                </c:pt>
                <c:pt idx="71">
                  <c:v>71.469744619673264</c:v>
                </c:pt>
                <c:pt idx="72">
                  <c:v>72.796818633290627</c:v>
                </c:pt>
                <c:pt idx="73">
                  <c:v>74.052185131818845</c:v>
                </c:pt>
                <c:pt idx="74">
                  <c:v>75.225819016799818</c:v>
                </c:pt>
                <c:pt idx="75">
                  <c:v>76.319678795758364</c:v>
                </c:pt>
                <c:pt idx="76">
                  <c:v>77.329083636816875</c:v>
                </c:pt>
                <c:pt idx="77">
                  <c:v>78.24910918178135</c:v>
                </c:pt>
                <c:pt idx="78">
                  <c:v>79.073330667561663</c:v>
                </c:pt>
                <c:pt idx="79">
                  <c:v>79.796372717650442</c:v>
                </c:pt>
                <c:pt idx="80">
                  <c:v>80.417030621546644</c:v>
                </c:pt>
                <c:pt idx="81">
                  <c:v>80.933092962627953</c:v>
                </c:pt>
                <c:pt idx="82">
                  <c:v>81.342020109158454</c:v>
                </c:pt>
                <c:pt idx="83">
                  <c:v>81.641337351972538</c:v>
                </c:pt>
                <c:pt idx="84">
                  <c:v>81.830220057613303</c:v>
                </c:pt>
                <c:pt idx="85">
                  <c:v>81.908211680787048</c:v>
                </c:pt>
                <c:pt idx="86">
                  <c:v>81.875373535759067</c:v>
                </c:pt>
                <c:pt idx="87">
                  <c:v>81.732049521928687</c:v>
                </c:pt>
                <c:pt idx="88">
                  <c:v>81.479403912680795</c:v>
                </c:pt>
                <c:pt idx="89">
                  <c:v>81.118893830549112</c:v>
                </c:pt>
                <c:pt idx="90">
                  <c:v>80.652331916841732</c:v>
                </c:pt>
                <c:pt idx="91">
                  <c:v>80.08225000457459</c:v>
                </c:pt>
                <c:pt idx="92">
                  <c:v>79.411753401361239</c:v>
                </c:pt>
                <c:pt idx="93">
                  <c:v>78.644264046886505</c:v>
                </c:pt>
                <c:pt idx="94">
                  <c:v>77.783532718045336</c:v>
                </c:pt>
                <c:pt idx="95">
                  <c:v>76.833694681473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9</c:v>
                </c:pt>
                <c:pt idx="30">
                  <c:v>10</c:v>
                </c:pt>
                <c:pt idx="31">
                  <c:v>14</c:v>
                </c:pt>
                <c:pt idx="32">
                  <c:v>16</c:v>
                </c:pt>
                <c:pt idx="33">
                  <c:v>16</c:v>
                </c:pt>
                <c:pt idx="34">
                  <c:v>20</c:v>
                </c:pt>
                <c:pt idx="35">
                  <c:v>18</c:v>
                </c:pt>
                <c:pt idx="36">
                  <c:v>20</c:v>
                </c:pt>
                <c:pt idx="37">
                  <c:v>19</c:v>
                </c:pt>
                <c:pt idx="38">
                  <c:v>20</c:v>
                </c:pt>
                <c:pt idx="39">
                  <c:v>19</c:v>
                </c:pt>
                <c:pt idx="40">
                  <c:v>20</c:v>
                </c:pt>
                <c:pt idx="41">
                  <c:v>23</c:v>
                </c:pt>
                <c:pt idx="42">
                  <c:v>21</c:v>
                </c:pt>
                <c:pt idx="43">
                  <c:v>23</c:v>
                </c:pt>
                <c:pt idx="44">
                  <c:v>21</c:v>
                </c:pt>
                <c:pt idx="45">
                  <c:v>22</c:v>
                </c:pt>
                <c:pt idx="46">
                  <c:v>26</c:v>
                </c:pt>
                <c:pt idx="47">
                  <c:v>30</c:v>
                </c:pt>
                <c:pt idx="48">
                  <c:v>30</c:v>
                </c:pt>
                <c:pt idx="49">
                  <c:v>37</c:v>
                </c:pt>
                <c:pt idx="50">
                  <c:v>39</c:v>
                </c:pt>
                <c:pt idx="51">
                  <c:v>41</c:v>
                </c:pt>
                <c:pt idx="52">
                  <c:v>40</c:v>
                </c:pt>
                <c:pt idx="53">
                  <c:v>43</c:v>
                </c:pt>
                <c:pt idx="54">
                  <c:v>43</c:v>
                </c:pt>
                <c:pt idx="55">
                  <c:v>47</c:v>
                </c:pt>
                <c:pt idx="56">
                  <c:v>43</c:v>
                </c:pt>
                <c:pt idx="57">
                  <c:v>45</c:v>
                </c:pt>
                <c:pt idx="58">
                  <c:v>52</c:v>
                </c:pt>
                <c:pt idx="59">
                  <c:v>55</c:v>
                </c:pt>
                <c:pt idx="60">
                  <c:v>57</c:v>
                </c:pt>
                <c:pt idx="61">
                  <c:v>51</c:v>
                </c:pt>
                <c:pt idx="62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6.421747582775282</c:v>
                </c:pt>
                <c:pt idx="43">
                  <c:v>27.788655758986721</c:v>
                </c:pt>
                <c:pt idx="44">
                  <c:v>29.114031127031161</c:v>
                </c:pt>
                <c:pt idx="45">
                  <c:v>30.367529994114747</c:v>
                </c:pt>
                <c:pt idx="46">
                  <c:v>31.606734470495965</c:v>
                </c:pt>
                <c:pt idx="47">
                  <c:v>32.851762501901561</c:v>
                </c:pt>
                <c:pt idx="48">
                  <c:v>34.073090507223093</c:v>
                </c:pt>
                <c:pt idx="49">
                  <c:v>35.255001203874798</c:v>
                </c:pt>
                <c:pt idx="50">
                  <c:v>36.326910131664967</c:v>
                </c:pt>
                <c:pt idx="51">
                  <c:v>37.377541884717658</c:v>
                </c:pt>
                <c:pt idx="52">
                  <c:v>38.396015133975553</c:v>
                </c:pt>
                <c:pt idx="53">
                  <c:v>39.403073126503941</c:v>
                </c:pt>
                <c:pt idx="54">
                  <c:v>40.321066926140631</c:v>
                </c:pt>
                <c:pt idx="55">
                  <c:v>41.194166825020488</c:v>
                </c:pt>
                <c:pt idx="56">
                  <c:v>42.055684997892968</c:v>
                </c:pt>
                <c:pt idx="57">
                  <c:v>42.862931361968066</c:v>
                </c:pt>
                <c:pt idx="58">
                  <c:v>43.623237975408919</c:v>
                </c:pt>
                <c:pt idx="59">
                  <c:v>44.334856091110147</c:v>
                </c:pt>
                <c:pt idx="60">
                  <c:v>45.025157782317066</c:v>
                </c:pt>
                <c:pt idx="61">
                  <c:v>45.660357069121901</c:v>
                </c:pt>
                <c:pt idx="62">
                  <c:v>46.242696815445314</c:v>
                </c:pt>
                <c:pt idx="63">
                  <c:v>46.784902353836202</c:v>
                </c:pt>
                <c:pt idx="64">
                  <c:v>47.297911191077048</c:v>
                </c:pt>
                <c:pt idx="65">
                  <c:v>47.756716323334473</c:v>
                </c:pt>
                <c:pt idx="66">
                  <c:v>48.165276115458774</c:v>
                </c:pt>
                <c:pt idx="67">
                  <c:v>48.532543645505058</c:v>
                </c:pt>
                <c:pt idx="68">
                  <c:v>48.860682281156201</c:v>
                </c:pt>
                <c:pt idx="69">
                  <c:v>49.146799002415953</c:v>
                </c:pt>
                <c:pt idx="70">
                  <c:v>49.388660093064985</c:v>
                </c:pt>
                <c:pt idx="71">
                  <c:v>49.594403410094571</c:v>
                </c:pt>
                <c:pt idx="72">
                  <c:v>49.755431207768652</c:v>
                </c:pt>
                <c:pt idx="73">
                  <c:v>49.872195245105431</c:v>
                </c:pt>
                <c:pt idx="74">
                  <c:v>49.940020586990428</c:v>
                </c:pt>
                <c:pt idx="75">
                  <c:v>49.966315778999359</c:v>
                </c:pt>
                <c:pt idx="76">
                  <c:v>49.951335449049424</c:v>
                </c:pt>
                <c:pt idx="77">
                  <c:v>49.895018829628469</c:v>
                </c:pt>
                <c:pt idx="78">
                  <c:v>49.795755768155814</c:v>
                </c:pt>
                <c:pt idx="79">
                  <c:v>49.652504923081935</c:v>
                </c:pt>
                <c:pt idx="80">
                  <c:v>49.467635913804401</c:v>
                </c:pt>
                <c:pt idx="81">
                  <c:v>49.242411021211424</c:v>
                </c:pt>
                <c:pt idx="82">
                  <c:v>48.977312115216179</c:v>
                </c:pt>
                <c:pt idx="83">
                  <c:v>48.672435741941172</c:v>
                </c:pt>
                <c:pt idx="84">
                  <c:v>48.329111411529126</c:v>
                </c:pt>
                <c:pt idx="85">
                  <c:v>47.948577252431377</c:v>
                </c:pt>
                <c:pt idx="86">
                  <c:v>47.532121076341397</c:v>
                </c:pt>
                <c:pt idx="87">
                  <c:v>47.080821922291406</c:v>
                </c:pt>
                <c:pt idx="88">
                  <c:v>46.596131421238447</c:v>
                </c:pt>
                <c:pt idx="89">
                  <c:v>46.079343461956938</c:v>
                </c:pt>
                <c:pt idx="90">
                  <c:v>45.531675340176875</c:v>
                </c:pt>
                <c:pt idx="91">
                  <c:v>44.954628415635682</c:v>
                </c:pt>
                <c:pt idx="92">
                  <c:v>44.349872765270476</c:v>
                </c:pt>
                <c:pt idx="93">
                  <c:v>43.71901420981186</c:v>
                </c:pt>
                <c:pt idx="94">
                  <c:v>43.063633933468267</c:v>
                </c:pt>
                <c:pt idx="95">
                  <c:v>42.385375584836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6.474064540851892</c:v>
                </c:pt>
                <c:pt idx="43">
                  <c:v>27.914232934455697</c:v>
                </c:pt>
                <c:pt idx="44">
                  <c:v>29.336394441731777</c:v>
                </c:pt>
                <c:pt idx="45">
                  <c:v>30.712482977133789</c:v>
                </c:pt>
                <c:pt idx="46">
                  <c:v>32.101545285696631</c:v>
                </c:pt>
                <c:pt idx="47">
                  <c:v>33.526013508640105</c:v>
                </c:pt>
                <c:pt idx="48">
                  <c:v>34.956823423070659</c:v>
                </c:pt>
                <c:pt idx="49">
                  <c:v>36.379317379958067</c:v>
                </c:pt>
                <c:pt idx="50">
                  <c:v>37.722843255702443</c:v>
                </c:pt>
                <c:pt idx="51">
                  <c:v>39.076387086335593</c:v>
                </c:pt>
                <c:pt idx="52">
                  <c:v>40.428756607528371</c:v>
                </c:pt>
                <c:pt idx="53">
                  <c:v>41.799802285225844</c:v>
                </c:pt>
                <c:pt idx="54">
                  <c:v>43.111099076575812</c:v>
                </c:pt>
                <c:pt idx="55">
                  <c:v>44.405418059097315</c:v>
                </c:pt>
                <c:pt idx="56">
                  <c:v>45.71485984154819</c:v>
                </c:pt>
                <c:pt idx="57">
                  <c:v>46.994996694021864</c:v>
                </c:pt>
                <c:pt idx="58">
                  <c:v>48.251233410516463</c:v>
                </c:pt>
                <c:pt idx="59">
                  <c:v>49.478848124385934</c:v>
                </c:pt>
                <c:pt idx="60">
                  <c:v>50.703466278335334</c:v>
                </c:pt>
                <c:pt idx="61">
                  <c:v>51.888255145212618</c:v>
                </c:pt>
                <c:pt idx="62">
                  <c:v>53.033215194580393</c:v>
                </c:pt>
                <c:pt idx="63">
                  <c:v>54.148893121930101</c:v>
                </c:pt>
                <c:pt idx="64">
                  <c:v>55.243492582321167</c:v>
                </c:pt>
                <c:pt idx="65">
                  <c:v>56.289207263357639</c:v>
                </c:pt>
                <c:pt idx="66">
                  <c:v>57.287461663225102</c:v>
                </c:pt>
                <c:pt idx="67">
                  <c:v>58.244944808995541</c:v>
                </c:pt>
                <c:pt idx="68">
                  <c:v>59.161276644870895</c:v>
                </c:pt>
                <c:pt idx="69">
                  <c:v>60.031047363070684</c:v>
                </c:pt>
                <c:pt idx="70">
                  <c:v>60.849422201606998</c:v>
                </c:pt>
                <c:pt idx="71">
                  <c:v>61.622012956916848</c:v>
                </c:pt>
                <c:pt idx="72">
                  <c:v>62.337615965773203</c:v>
                </c:pt>
                <c:pt idx="73">
                  <c:v>62.994422147690656</c:v>
                </c:pt>
                <c:pt idx="74">
                  <c:v>63.585478409226916</c:v>
                </c:pt>
                <c:pt idx="75">
                  <c:v>64.116181950778213</c:v>
                </c:pt>
                <c:pt idx="76">
                  <c:v>64.584782063674595</c:v>
                </c:pt>
                <c:pt idx="77">
                  <c:v>64.989337108546621</c:v>
                </c:pt>
                <c:pt idx="78">
                  <c:v>65.326322373798092</c:v>
                </c:pt>
                <c:pt idx="79">
                  <c:v>65.59302081807887</c:v>
                </c:pt>
                <c:pt idx="80">
                  <c:v>65.790442598133467</c:v>
                </c:pt>
                <c:pt idx="81">
                  <c:v>65.918549756673301</c:v>
                </c:pt>
                <c:pt idx="82">
                  <c:v>65.976691720250869</c:v>
                </c:pt>
                <c:pt idx="83">
                  <c:v>65.964003601485459</c:v>
                </c:pt>
                <c:pt idx="84">
                  <c:v>65.88102444621137</c:v>
                </c:pt>
                <c:pt idx="85">
                  <c:v>65.728378914462084</c:v>
                </c:pt>
                <c:pt idx="86">
                  <c:v>65.506917081746622</c:v>
                </c:pt>
                <c:pt idx="87">
                  <c:v>65.217456431711952</c:v>
                </c:pt>
                <c:pt idx="88">
                  <c:v>64.861359487755834</c:v>
                </c:pt>
                <c:pt idx="89">
                  <c:v>64.439998791538414</c:v>
                </c:pt>
                <c:pt idx="90">
                  <c:v>63.954830917722006</c:v>
                </c:pt>
                <c:pt idx="91">
                  <c:v>63.407750867861594</c:v>
                </c:pt>
                <c:pt idx="92">
                  <c:v>62.80097097330443</c:v>
                </c:pt>
                <c:pt idx="93">
                  <c:v>62.136779933652349</c:v>
                </c:pt>
                <c:pt idx="94">
                  <c:v>61.417572406284066</c:v>
                </c:pt>
                <c:pt idx="95">
                  <c:v>60.645922091995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6.526678357947077</c:v>
                </c:pt>
                <c:pt idx="43">
                  <c:v>28.040889310200498</c:v>
                </c:pt>
                <c:pt idx="44">
                  <c:v>29.561446087609653</c:v>
                </c:pt>
                <c:pt idx="45">
                  <c:v>31.062980543846216</c:v>
                </c:pt>
                <c:pt idx="46">
                  <c:v>32.606489983985199</c:v>
                </c:pt>
                <c:pt idx="47">
                  <c:v>34.217267256640056</c:v>
                </c:pt>
                <c:pt idx="48">
                  <c:v>35.867295190910312</c:v>
                </c:pt>
                <c:pt idx="49">
                  <c:v>37.543601001182786</c:v>
                </c:pt>
                <c:pt idx="50">
                  <c:v>39.176108039254473</c:v>
                </c:pt>
                <c:pt idx="51">
                  <c:v>40.854716839694078</c:v>
                </c:pt>
                <c:pt idx="52">
                  <c:v>42.568569806430503</c:v>
                </c:pt>
                <c:pt idx="53">
                  <c:v>44.33724336639218</c:v>
                </c:pt>
                <c:pt idx="54">
                  <c:v>46.082114175857171</c:v>
                </c:pt>
                <c:pt idx="55">
                  <c:v>47.845073618101701</c:v>
                </c:pt>
                <c:pt idx="56">
                  <c:v>49.657466433269093</c:v>
                </c:pt>
                <c:pt idx="57">
                  <c:v>51.473500048883977</c:v>
                </c:pt>
                <c:pt idx="58">
                  <c:v>53.296933797324115</c:v>
                </c:pt>
                <c:pt idx="59">
                  <c:v>55.120247523408466</c:v>
                </c:pt>
                <c:pt idx="60">
                  <c:v>56.967379553771991</c:v>
                </c:pt>
                <c:pt idx="61">
                  <c:v>58.798378985794564</c:v>
                </c:pt>
                <c:pt idx="62">
                  <c:v>60.610799064070193</c:v>
                </c:pt>
                <c:pt idx="63">
                  <c:v>62.412667451849188</c:v>
                </c:pt>
                <c:pt idx="64">
                  <c:v>64.2089751096198</c:v>
                </c:pt>
                <c:pt idx="65">
                  <c:v>65.968510031331732</c:v>
                </c:pt>
                <c:pt idx="66">
                  <c:v>67.689433685223349</c:v>
                </c:pt>
                <c:pt idx="67">
                  <c:v>69.37531501146691</c:v>
                </c:pt>
                <c:pt idx="68">
                  <c:v>71.022256396113562</c:v>
                </c:pt>
                <c:pt idx="69">
                  <c:v>72.621249827079836</c:v>
                </c:pt>
                <c:pt idx="70">
                  <c:v>74.163683026569075</c:v>
                </c:pt>
                <c:pt idx="71">
                  <c:v>75.651383806541219</c:v>
                </c:pt>
                <c:pt idx="72">
                  <c:v>77.069222180985093</c:v>
                </c:pt>
                <c:pt idx="73">
                  <c:v>78.411763136799962</c:v>
                </c:pt>
                <c:pt idx="74">
                  <c:v>79.668380718618906</c:v>
                </c:pt>
                <c:pt idx="75">
                  <c:v>80.841054838866768</c:v>
                </c:pt>
                <c:pt idx="76">
                  <c:v>81.924630979720419</c:v>
                </c:pt>
                <c:pt idx="77">
                  <c:v>82.913914367847894</c:v>
                </c:pt>
                <c:pt idx="78">
                  <c:v>83.802137800122054</c:v>
                </c:pt>
                <c:pt idx="79">
                  <c:v>84.583643555820373</c:v>
                </c:pt>
                <c:pt idx="80">
                  <c:v>85.256898217231139</c:v>
                </c:pt>
                <c:pt idx="81">
                  <c:v>85.819475368265515</c:v>
                </c:pt>
                <c:pt idx="82">
                  <c:v>86.268613462380557</c:v>
                </c:pt>
                <c:pt idx="83">
                  <c:v>86.601630055240022</c:v>
                </c:pt>
                <c:pt idx="84">
                  <c:v>86.817550701836737</c:v>
                </c:pt>
                <c:pt idx="85">
                  <c:v>86.915805149585935</c:v>
                </c:pt>
                <c:pt idx="86">
                  <c:v>86.896372364959404</c:v>
                </c:pt>
                <c:pt idx="87">
                  <c:v>86.759527368152163</c:v>
                </c:pt>
                <c:pt idx="88">
                  <c:v>86.506417084819802</c:v>
                </c:pt>
                <c:pt idx="89">
                  <c:v>86.138520123123072</c:v>
                </c:pt>
                <c:pt idx="90">
                  <c:v>85.657711051314323</c:v>
                </c:pt>
                <c:pt idx="91">
                  <c:v>85.066604094825067</c:v>
                </c:pt>
                <c:pt idx="92">
                  <c:v>84.368419737160522</c:v>
                </c:pt>
                <c:pt idx="93">
                  <c:v>83.56672752626605</c:v>
                </c:pt>
                <c:pt idx="94">
                  <c:v>82.66545578287473</c:v>
                </c:pt>
                <c:pt idx="95">
                  <c:v>81.668943570594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3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chart" Target="../charts/chart9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chart" Target="../charts/chart10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chart" Target="../charts/chart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slideLayout" Target="../slideLayouts/slideLayout10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chart" Target="../charts/chart1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chart" Target="../charts/chart14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chart" Target="../charts/chart15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chart" Target="../charts/chart16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2.xml"/><Relationship Id="rId10" Type="http://schemas.openxmlformats.org/officeDocument/2006/relationships/tags" Target="../tags/tag167.xml"/><Relationship Id="rId4" Type="http://schemas.openxmlformats.org/officeDocument/2006/relationships/tags" Target="../tags/tag161.xml"/><Relationship Id="rId9" Type="http://schemas.openxmlformats.org/officeDocument/2006/relationships/tags" Target="../tags/tag16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12" Type="http://schemas.openxmlformats.org/officeDocument/2006/relationships/chart" Target="../charts/chart17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2.xml"/><Relationship Id="rId10" Type="http://schemas.openxmlformats.org/officeDocument/2006/relationships/tags" Target="../tags/tag177.xml"/><Relationship Id="rId4" Type="http://schemas.openxmlformats.org/officeDocument/2006/relationships/tags" Target="../tags/tag171.xml"/><Relationship Id="rId9" Type="http://schemas.openxmlformats.org/officeDocument/2006/relationships/tags" Target="../tags/tag17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chart" Target="../charts/chart18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2.xml"/><Relationship Id="rId10" Type="http://schemas.openxmlformats.org/officeDocument/2006/relationships/tags" Target="../tags/tag187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chart" Target="../charts/chart19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2.xml"/><Relationship Id="rId10" Type="http://schemas.openxmlformats.org/officeDocument/2006/relationships/tags" Target="../tags/tag197.xml"/><Relationship Id="rId4" Type="http://schemas.openxmlformats.org/officeDocument/2006/relationships/tags" Target="../tags/tag191.xml"/><Relationship Id="rId9" Type="http://schemas.openxmlformats.org/officeDocument/2006/relationships/tags" Target="../tags/tag19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chart" Target="../charts/chart2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2.xml"/><Relationship Id="rId10" Type="http://schemas.openxmlformats.org/officeDocument/2006/relationships/tags" Target="../tags/tag207.xml"/><Relationship Id="rId4" Type="http://schemas.openxmlformats.org/officeDocument/2006/relationships/tags" Target="../tags/tag201.xml"/><Relationship Id="rId9" Type="http://schemas.openxmlformats.org/officeDocument/2006/relationships/tags" Target="../tags/tag20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chart" Target="../charts/chart21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2.xml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chart" Target="../charts/chart22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2.xml"/><Relationship Id="rId10" Type="http://schemas.openxmlformats.org/officeDocument/2006/relationships/tags" Target="../tags/tag227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12" Type="http://schemas.openxmlformats.org/officeDocument/2006/relationships/chart" Target="../charts/chart23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2.xml"/><Relationship Id="rId10" Type="http://schemas.openxmlformats.org/officeDocument/2006/relationships/tags" Target="../tags/tag237.xml"/><Relationship Id="rId4" Type="http://schemas.openxmlformats.org/officeDocument/2006/relationships/tags" Target="../tags/tag231.xml"/><Relationship Id="rId9" Type="http://schemas.openxmlformats.org/officeDocument/2006/relationships/tags" Target="../tags/tag23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chart" Target="../charts/chart24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2.xml"/><Relationship Id="rId10" Type="http://schemas.openxmlformats.org/officeDocument/2006/relationships/tags" Target="../tags/tag247.xml"/><Relationship Id="rId4" Type="http://schemas.openxmlformats.org/officeDocument/2006/relationships/tags" Target="../tags/tag241.xml"/><Relationship Id="rId9" Type="http://schemas.openxmlformats.org/officeDocument/2006/relationships/tags" Target="../tags/tag24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chart" Target="../charts/chart25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2.xml"/><Relationship Id="rId10" Type="http://schemas.openxmlformats.org/officeDocument/2006/relationships/tags" Target="../tags/tag257.xml"/><Relationship Id="rId4" Type="http://schemas.openxmlformats.org/officeDocument/2006/relationships/tags" Target="../tags/tag251.xml"/><Relationship Id="rId9" Type="http://schemas.openxmlformats.org/officeDocument/2006/relationships/tags" Target="../tags/tag25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3" Type="http://schemas.openxmlformats.org/officeDocument/2006/relationships/tags" Target="../tags/tag260.xml"/><Relationship Id="rId7" Type="http://schemas.openxmlformats.org/officeDocument/2006/relationships/tags" Target="../tags/tag264.xml"/><Relationship Id="rId12" Type="http://schemas.openxmlformats.org/officeDocument/2006/relationships/chart" Target="../charts/chart26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2.xml"/><Relationship Id="rId10" Type="http://schemas.openxmlformats.org/officeDocument/2006/relationships/tags" Target="../tags/tag267.xml"/><Relationship Id="rId4" Type="http://schemas.openxmlformats.org/officeDocument/2006/relationships/tags" Target="../tags/tag261.xml"/><Relationship Id="rId9" Type="http://schemas.openxmlformats.org/officeDocument/2006/relationships/tags" Target="../tags/tag26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chart" Target="../charts/chart27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2.xml"/><Relationship Id="rId10" Type="http://schemas.openxmlformats.org/officeDocument/2006/relationships/tags" Target="../tags/tag277.xml"/><Relationship Id="rId4" Type="http://schemas.openxmlformats.org/officeDocument/2006/relationships/tags" Target="../tags/tag271.xml"/><Relationship Id="rId9" Type="http://schemas.openxmlformats.org/officeDocument/2006/relationships/tags" Target="../tags/tag27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chart" Target="../charts/chart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chart" Target="../charts/chart28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chart" Target="../charts/chart29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2.xml"/><Relationship Id="rId10" Type="http://schemas.openxmlformats.org/officeDocument/2006/relationships/tags" Target="../tags/tag297.xml"/><Relationship Id="rId4" Type="http://schemas.openxmlformats.org/officeDocument/2006/relationships/tags" Target="../tags/tag291.xml"/><Relationship Id="rId9" Type="http://schemas.openxmlformats.org/officeDocument/2006/relationships/tags" Target="../tags/tag29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12" Type="http://schemas.openxmlformats.org/officeDocument/2006/relationships/chart" Target="../charts/chart3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02.xml"/><Relationship Id="rId10" Type="http://schemas.openxmlformats.org/officeDocument/2006/relationships/tags" Target="../tags/tag307.xml"/><Relationship Id="rId4" Type="http://schemas.openxmlformats.org/officeDocument/2006/relationships/tags" Target="../tags/tag301.xml"/><Relationship Id="rId9" Type="http://schemas.openxmlformats.org/officeDocument/2006/relationships/tags" Target="../tags/tag30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chart" Target="../charts/char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chart" Target="../charts/chart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chart" Target="../charts/chart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chart" Target="../charts/char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chart" Target="../charts/chart7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chart" Target="../charts/chart8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5471973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544241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660CB81-A8EB-45AA-A5E7-791327C09A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53011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DA4EAD8-4535-4BE4-AD87-65DE2E16A58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9B5E06D-6EE5-4023-824C-3D0A2099ACA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ABA640B-FD42-45EA-959B-568FB19ECAC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B738D3DF-6123-46A9-983A-FF74DFFE50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D330B42-09BC-4075-8B1D-CB6444A31F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230DDE06-0218-4CD5-B7A1-02D9665BD4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0B5C0143-429A-4F82-9701-DF10369C572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FF0CA95-1E90-4ADC-AE13-5172C0D6683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66A22789-D149-4D74-A887-ECE01940F0A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598934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502310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CB521384-709B-4277-BF41-26D0150D2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65405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96C81BB2-6C01-4C6E-837F-2A148665821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2BD64910-DCFE-4CE7-B0FC-D112A8A013D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C5AB750F-CDA8-4292-923A-CFEA19F034B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6DCCCA29-CF1F-4193-A469-915EF3844A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EE37838B-2068-4AE7-9C01-A8BB5286A6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6ECC1D7-B903-4AAF-AE3B-96E60027C5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EFC0074B-E744-4583-856B-862E1A8550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7C28AA1-B8A5-4B5A-850D-8DE26A10EF9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BF79AC0-9A4D-4237-90DF-FE28F5DF01C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970475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262719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451B7550-13F4-4987-9265-E91C6E815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37513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9" name="TextBox 9">
            <a:extLst>
              <a:ext uri="{FF2B5EF4-FFF2-40B4-BE49-F238E27FC236}">
                <a16:creationId xmlns:a16="http://schemas.microsoft.com/office/drawing/2014/main" id="{52E4B58F-8883-4E1B-AEFC-F8B4B3942FF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2DCB18B5-62CF-49C8-A6D0-1BD2762F119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1" name="Skupina 30">
              <a:extLst>
                <a:ext uri="{FF2B5EF4-FFF2-40B4-BE49-F238E27FC236}">
                  <a16:creationId xmlns:a16="http://schemas.microsoft.com/office/drawing/2014/main" id="{0C4C06FF-BAD0-498E-88EB-26DFD0C302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702C9597-6B40-4AE5-AA96-39C46DCBA7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47B6DFB1-D073-49F1-80B8-DB2BBA74EC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53C0690-33A9-4A6E-9138-2FAAA431583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4436437F-1152-4598-90E9-0DF2B4D9A2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A4AA320-0012-49BB-A556-83365BAA40E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2C191459-DD63-4A78-9C4B-5D7811025C2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0647623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3100408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E171E0AB-15A0-466F-8132-D44DFDB2EF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527426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4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Šipka: doprava 20">
            <a:extLst>
              <a:ext uri="{FF2B5EF4-FFF2-40B4-BE49-F238E27FC236}">
                <a16:creationId xmlns:a16="http://schemas.microsoft.com/office/drawing/2014/main" id="{62A964C4-A103-4743-B034-3BEBE37826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flipH="1">
            <a:off x="6096000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bez 19 pacientů přeložených do Hl. m. Praha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3666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432984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DA0C2E3D-44A1-4F7B-B896-7E4C6A8BDE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20137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8CDA08CB-7E8C-4838-8C10-E766CE75771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39448A4-F4FD-4F0C-A203-553C9F91305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ACAE5CD-9AB0-4CE0-9CC1-5DAC69CB173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4D6C0542-9C25-436B-A326-9F12042F17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BB3785C5-01E7-40E6-B28C-0F412792FF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C27F091-05F9-48B3-89B0-9C8DC9E2189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C46367B5-0BA4-48F4-899C-C8130832CF9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B59ED72-5450-43AA-9E26-02766F6138E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6D2FB046-FA28-418A-A906-7C05E44379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6445619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547218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421AEAFB-7B72-456A-9B9C-5FFCD568B0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86121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1DD803E5-B4E3-46C3-8A31-2D647B9DD27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C99652A-4D79-4ECB-8530-BE2191CC8A9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FC32BD59-36A1-4332-B5C2-7D976F2B06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EAEAEF84-9240-4163-8050-7D5A0B0E8E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34F66578-BE90-41BA-BD99-FFF85F46FF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443B36A4-0798-4F29-84AE-13A985C367F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8F79AC02-4BE8-4FC2-A887-1DE46B8DA8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5ABDBA0-F035-4141-9016-F2D6084232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19B76B44-A9C7-442D-A042-75A6575FBA3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1920508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152327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0FF62191-1A3A-4F79-863D-98BBF88AFB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23430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2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CBA91600-8E02-4564-BC8C-C2F17F05E92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59FF964-6330-4593-AF59-CF8EFCAE09D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DF40AF4-E53C-4ED9-A248-F5B92AF9B89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7CA0BC52-D789-4C6B-B297-8D84A3E7EE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16F4D0D2-3B47-4D8D-BD24-8F88679A1E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BED15094-61D0-4A35-AAF9-319C75D4A25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AAE3BE80-9157-4869-9C71-326674153EA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3AA324A-98FE-4D4C-A15B-FA0E0708797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95FDEE0D-400A-4659-9C59-F89051CABAB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1456519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8496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220006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F5E0772-A25D-490E-963A-82339D0EF2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E6C5BD4-45B1-476C-B7F7-ACBE2C3C3C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A54661-C594-4960-93AF-8882DE08070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35729AB8-B43C-4F93-AF35-B778CF39E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86FD4463-9B7D-45B8-A532-E748F343CE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0E583A33-A25D-4321-B49B-37CBF1EC50B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2E898C2B-199F-424A-9205-04F27F14052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B7913C7-D1F2-4000-8689-2BA61BA4A6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266108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28954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0E6826C-AB7E-4E48-A2F1-F65D1C43B59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FD663DA4-747F-4C80-9168-ED3A83723C2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0CC9231-BFF2-46EE-9ED9-A7BE38FB74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8476A96-D10F-479C-8188-8090D4DA32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91D12DF4-007C-4E2B-AAA6-0169865F28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D6FFDEDD-4A82-4F6A-89CB-59E0356F7E3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F13418F-4AA1-4F93-9E9D-DA9A5193A6E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ACA91AE-4040-4381-B8B6-A164B802491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41727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137052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A3DA10B9-CED7-43D2-A6CE-BC29BF7129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474475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3972143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813641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2AA9549C-3395-473A-9E40-A30A430455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098014CD-06B7-4FC0-BD93-06EAA0C7A0B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4126DB6-909E-41FF-8C0D-A944D8DE355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F725247-42E2-4071-BA4B-5D97617AD3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EF1BD3AE-BFCB-4F1B-96E0-DE7E34FDDF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7E3973A-A051-431E-866C-128BFDDDBEB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6DAC85E-1FEC-4B63-B197-A04C7621E46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B4D1FF3-46F0-4B19-A7A7-9E0412E332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192775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38020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C5BF605-F8B1-4698-B1C4-D3B38408AE3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2EC0A99-6958-459A-8188-F2E280A365F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E5EFB4D3-2098-4B6C-B740-52E8D469712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4F69E01-F452-4A72-AF72-66C8015355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CB5A9CE6-C1F1-4821-B321-B847C2CB5B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0981A92-F059-4723-BFD5-CDCF41ED2D2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D5FEE686-F37F-40B7-BC80-7CB7352775B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AF8BDBB-B16A-41A7-8D64-D6DB8D0EED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523998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915214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6F11C75-C2E6-4249-9B5D-438401F71E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605EC92-EF05-47EF-9EB8-2BCAC28D1E2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75118A2-461E-4CC1-9C39-8139654DDD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2DD4D49-ADC7-47D6-A23A-B37115A35A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2EDCF41E-9CBC-41DA-94D9-BE9DAC272D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301D4FB-1B2F-484C-84EC-6B123BDB46E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0A26E23-769F-4C9F-A762-2125EC06CE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B1865E9-E8AA-4C65-929E-F6DFFB433DB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941623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87586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1A8377D-575B-4B43-913D-DF2292D20AF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43BD107-423A-430B-8436-649AA734420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ECAE3C6F-D54F-43B7-B663-765E6E8CCBB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089E4023-6621-4462-982C-04ACD4048F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62EB572-0672-4A81-997D-A8E1BD6BE9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1759C323-1AB8-487A-9B6F-39B6D3F9C0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15E7D79F-E916-47C6-8969-DD35128BC47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BBBB578-FEE9-4B11-9092-D7A05EF978C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097965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313406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619AFECB-7B1D-435E-B2C3-13CA9804D31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0ED25E0-4C5E-4FBF-BDA0-1F78B619698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9D0E8A-9FA7-4CDA-82B6-923037EF7190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608EBA0-1A04-4B82-ABFE-30665D1FC6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14AC9647-47A1-4507-B93B-3C03586EA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681B5C-93D1-470D-9DB3-7E750184A50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F1808E7-6885-47D8-A2CC-7A1A38E8B80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22BAF86-794F-4575-AF78-5BF07D3E6F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051786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816637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CF0F3F4-4AFC-48C6-B9B2-307BD1637EB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745C8CA-1B07-44E7-A352-DA2C4BBDAE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B2AD5366-10C9-4BD6-AFC7-6DADC14700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1DDA1AD-4FFF-4455-9028-DEA59259C0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6ADF3D5D-C342-47CF-9606-C1F6D03F0D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B9636A8-C5CC-4F3C-BB6E-76B6950C576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549F917-44CF-4F6D-AD25-46CF694DAAC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52D55E7-89C4-46E9-96FA-082DBB778AE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858756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985537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47F33E3-65A4-45E0-AED9-CD3EA4F8EC9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1B75F25E-9BB7-44D4-A7A1-035BF830979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9BD8669-9615-48FD-B1B9-3B01058CDF33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6F7AC97-CC3F-4919-BB21-38FB82CE5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04A3858-740A-41A0-A49E-6D80D01B51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043652C8-13D7-4AC1-AD21-864320CF6DA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7620605-C242-48DF-B5D0-7299E52BF98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6ED825D-0BE6-4131-BCEF-F0A490857AE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589589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636599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774EDA2C-121C-4CBF-AD66-B95C4B4BEFB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2A641DD-25C0-4472-8091-5B1D6E8345B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AABF4670-D52D-469B-A959-140446D97A5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2FB5900-362F-4879-8492-009989B416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409C3786-9DAF-451B-834B-7B7D0F8584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7B6490-C572-4BDA-9CEC-A4F5078F8FA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4B2F1B73-DCC3-48C0-BFAA-9A298696DE3B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691ED68-4233-45B7-A5C4-AC7F6F7468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462477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62105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1AA3BA-83A1-4A73-8D22-33789AFED6B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A6DB236-335D-4F54-9520-A29F56BBEBB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17381AA3-8179-4E2E-9788-E7F538386D7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3931598-93D4-4AC9-85D0-01B4ACC111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BA73D01-C755-4B29-9490-90915C3E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3D5BE03B-A05C-4283-947F-4E6071E71DD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F740E1C-D44D-45E9-A06B-9CCCD737769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BBCBE33B-16B6-4C9B-B43D-C37C812070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052012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173452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50F521E-05D5-4920-AAD5-D6FF1942427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0E59F30-9223-4C4A-815B-69F61AEF01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5C929992-00F5-438F-90D7-7C5C30C91BF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9063CE5-8BB3-479F-83B5-D7E4EC4AFC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E7CF96A-E09B-4BD9-B15C-1EE350A941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F7AFE67-187F-4BF0-B8BA-F1F1CAF76BF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6F3A3B5C-ED51-4EAF-9B0E-BA10128A639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0AC9E55-1AB2-472D-853E-F135F64078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029327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993424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5A54EA0A-F0FA-4773-B564-F19BFCFD7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25949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1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9680759-4220-4FA8-94F2-5E1BB73350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7844C14-4B18-4D0F-829C-2A3FECA8AEE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0A88E7C-6EFC-40D6-8AE7-2C376186C90E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4387C07-E7D3-4C9F-9541-B3891753E3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3D3161CE-A937-428D-B746-3C6A7C4E64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A2C0B6A-2D73-4557-BE88-0601D740F37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D43D3A77-51CE-4988-9AE2-F6000706CDF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3FBB783-85B7-4670-BA32-031557B65B4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E5CB50B9-65A3-4EAE-90FE-3506F8A9AB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501872B2-654B-4F86-8E9F-20E99FBBC18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096000" y="4432663"/>
            <a:ext cx="2274910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vč. 19 pacientů přeložených z JMK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68459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891505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29F9F81-EE2E-46A8-A3D0-9544CE6E3B2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C3152C6-4E24-4892-A71F-1ABA065A583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0614EE21-7227-4E42-8931-A64299E61FE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12F573CB-AD3A-4E7B-8A85-7EEC135F12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04366B42-6188-4E0D-AF87-87CF92EFE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EBDF3EB-8CA3-46EB-8708-D05FF9F1BE2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618413F-A2A0-4EB1-8BBF-F3BCBB49F5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810E9BF-41E5-45D2-821F-169DE4B8EB7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983285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721219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02F44491-B51E-4114-9296-2F1B73D2C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099D3C6-BF99-4CCA-8233-17397AAD0AF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A271B92-B75C-4D2D-9639-44135C12DAE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E52A91E3-DF13-461F-B0AC-235D03094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ABBABFFA-0961-4B68-BFB2-978D04634F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50D9F8A-9CC5-4DA2-BF4E-EA1D509306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8D652CE-3B4B-440E-B83E-E7C051DBA7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ABAD116-07CF-41FB-8B39-E67C9E2688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581221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496320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5A50ABD-3D0D-4F42-98D7-D88760F187B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80FD9B1-49D5-42F5-B4B4-1A25E3418DA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2C9BF365-00FE-475B-98D1-1AF393F7DAA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54EB8C2-23F3-4731-95A0-8EC67D8CBA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F6DBED55-4307-42C5-BA07-7258672939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7800F533-788C-40F5-8495-FEA4AA6ABF7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B8130F25-7596-4F34-AA71-B092AF9BFEC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33969CE-23FA-4AA8-94B1-D9E2D9D65F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16773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63637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13255348-48CC-4295-A8C1-A3A1789B63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48818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BE68559-8F00-4036-ABC9-F64435F1B8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4E21654-D415-48EC-8156-6E85810BE10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EEFE2C78-786E-47A1-9CA9-F10D75050FA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4552FEA-D753-4105-9381-3DE56D3301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1C173FF8-0C6D-4482-A7DB-F4EA661237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C547764-5442-441F-986C-673416F459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531F128B-0095-4A87-94A8-2B95AD94CC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9A89CE4-6E05-44C5-A9D5-3EDA39597D4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C944C999-10E3-4003-89D0-28F281E061F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5826274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210648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626347A1-7801-4EB0-ADF0-69A33AB9C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01156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A1387E2-8A92-48BA-9999-74DEDDC335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90AF2DB-DDD7-4214-AA90-35460D51C19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94A59FF-0FF1-40FA-A06D-09D6388C59E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882AB7F7-6637-415F-AEC8-26BD6B380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A85F12B9-F212-4BC1-8161-9E7C5188A6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3DEB781-34E3-4668-BBC2-6AD474788B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E9628856-C0E2-49D5-83A7-2895784E024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E9A255E-22AB-4190-AF9D-F375CE69A28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DB7C8514-7543-4D6C-8C41-4B789E78EA8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890175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653930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6AD3D691-9054-48DC-B0F8-766C1A5AEB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65015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C3D5138-7443-427B-85E3-09212D251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80361FE-9036-4F08-A62B-BC4B019DABD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078D5396-CFDA-4B85-B43A-DF63A53EA68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6AF81B5-AA49-4B43-B2AA-4EF38EFEA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845B78C-B141-4CD6-9CEF-3943FFBD9B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9875B78-30B3-4304-8C88-8C1AA68339D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3AD6E297-494C-4300-960B-354999653D5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1C1594-D77B-4CA8-BC73-79A1687A63A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A970CF94-1400-4CDE-983E-7D3C07B5B2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709480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954234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1B158E86-0BBF-4BAF-B6E9-BECACF0D77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459873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20807A8-509F-4A6C-BC5C-0D267B2D580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64866A4-CD7C-49BF-92CD-1A8ECDFF86F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4CFBC01-723A-400A-A74D-940BA301BAD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1F9DBFF1-754D-402E-9390-2F9E1B91D5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7DD68FB-974E-4F0F-AC8F-FB3DF78D9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7AD488C4-1566-4AFD-8968-EF230D2E331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706C8541-2945-4BF7-9A59-C6CA1CC2851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43AD9C8-4F69-43EA-99CD-D89F9F5DFAC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9" name="TextBox 14">
            <a:extLst>
              <a:ext uri="{FF2B5EF4-FFF2-40B4-BE49-F238E27FC236}">
                <a16:creationId xmlns:a16="http://schemas.microsoft.com/office/drawing/2014/main" id="{41FE2E42-4BC5-42AA-86C2-0F13F90D3C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2403835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878096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2B36894E-C0C8-48C6-8198-B0F1BBE1AF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656189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8BC50ED-8A2D-4885-A662-839165A2988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64C33C8-8363-469B-8A37-CC13393E525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116A5F4-CB56-4E44-B5C2-26753C2F4FF4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20F4541-FFA6-4496-8BC7-8765EE1516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1AE16C7-9693-42B1-B4D8-F428D86C72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7B278ED-7508-4378-BB67-05FA2B3C28C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67DAD0D8-C807-4DF7-96F5-41100BD54D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46CC21E-737B-472E-A3A9-C1B6973EEF4F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4A636343-78EB-483E-9899-00871B33F35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0410E31B-B99F-435B-A6BA-F3DDD5F0814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632934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1. 12. bez 3 pacientů přeložených do jiných krajů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2571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254121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2DF2CCF8-6552-47F0-83C0-7BB946FD46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252655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E662C74-0D53-4C72-A1A5-195BC077F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C61E22C-7ED9-43F5-9EAA-AE5C63C1CC2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D9B8351-AAF5-4962-858A-A342526FCD4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65DFC254-371D-4C39-AB10-BC9DBAFE0A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614B4195-6A55-4340-8C52-D0354B027C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AE0F6F7-39F5-40AE-AD43-795967C5DC8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9EAA645F-A0DD-49F7-A7A2-41EA858B7B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6D6F968-2BC4-43B1-B658-3B272892612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25251DC3-2EE8-47D4-89FE-1C3E747C359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896634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93</TotalTime>
  <Words>3581</Words>
  <Application>Microsoft Office PowerPoint</Application>
  <PresentationFormat>Širokoúhlá obrazovka</PresentationFormat>
  <Paragraphs>847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Žofka Jan Mgr. Ing.</cp:lastModifiedBy>
  <cp:revision>406</cp:revision>
  <dcterms:created xsi:type="dcterms:W3CDTF">2021-03-07T17:05:03Z</dcterms:created>
  <dcterms:modified xsi:type="dcterms:W3CDTF">2021-12-03T19:40:40Z</dcterms:modified>
</cp:coreProperties>
</file>